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v" ContentType="video/x-ms-wmv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9"/>
  </p:notesMasterIdLst>
  <p:sldIdLst>
    <p:sldId id="256" r:id="rId5"/>
    <p:sldId id="291" r:id="rId6"/>
    <p:sldId id="281" r:id="rId7"/>
    <p:sldId id="266" r:id="rId8"/>
    <p:sldId id="292" r:id="rId9"/>
    <p:sldId id="283" r:id="rId10"/>
    <p:sldId id="284" r:id="rId11"/>
    <p:sldId id="285" r:id="rId12"/>
    <p:sldId id="298" r:id="rId13"/>
    <p:sldId id="288" r:id="rId14"/>
    <p:sldId id="296" r:id="rId15"/>
    <p:sldId id="295" r:id="rId16"/>
    <p:sldId id="290" r:id="rId17"/>
    <p:sldId id="269" r:id="rId18"/>
  </p:sldIdLst>
  <p:sldSz cx="12192000" cy="6858000"/>
  <p:notesSz cx="6797675" cy="9926638"/>
  <p:custDataLst>
    <p:tags r:id="rId20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512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215F423-0BA1-A0E8-2DFB-F1AABF5D9BBD}" name="Rachel Elisabeth Eide" initials="REE" userId="S::ree@udi.no::4c2032d3-c297-445d-a36e-66896227502f" providerId="AD"/>
  <p188:author id="{4378BE95-EDBC-03C4-422F-D0002BA8165A}" name="Berit Gravdahl" initials="BG" userId="S::begr@udi.no::ac97bd2d-417e-4a11-b74b-00b05f86171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373C"/>
    <a:srgbClr val="267D5C"/>
    <a:srgbClr val="266D72"/>
    <a:srgbClr val="676767"/>
    <a:srgbClr val="FCFCFC"/>
    <a:srgbClr val="FFF0AF"/>
    <a:srgbClr val="858688"/>
    <a:srgbClr val="35B6C0"/>
    <a:srgbClr val="60B2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74CCDFD-7109-485F-A9EB-5A62319051BA}" v="14644" dt="2022-09-21T19:14:46.05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58980" autoAdjust="0"/>
  </p:normalViewPr>
  <p:slideViewPr>
    <p:cSldViewPr snapToGrid="0">
      <p:cViewPr>
        <p:scale>
          <a:sx n="104" d="100"/>
          <a:sy n="104" d="100"/>
        </p:scale>
        <p:origin x="834" y="72"/>
      </p:cViewPr>
      <p:guideLst>
        <p:guide orient="horz" pos="2160"/>
        <p:guide pos="5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chel Elisabeth Eide" userId="S::ree@udi.no::4c2032d3-c297-445d-a36e-66896227502f" providerId="AD" clId="Web-{97C80895-0CAF-5183-5162-0C92DF6975D0}"/>
    <pc:docChg chg="delSld modSld">
      <pc:chgData name="Rachel Elisabeth Eide" userId="S::ree@udi.no::4c2032d3-c297-445d-a36e-66896227502f" providerId="AD" clId="Web-{97C80895-0CAF-5183-5162-0C92DF6975D0}" dt="2022-09-07T08:50:10.909" v="32"/>
      <pc:docMkLst>
        <pc:docMk/>
      </pc:docMkLst>
      <pc:sldChg chg="addSp modSp mod modClrScheme chgLayout">
        <pc:chgData name="Rachel Elisabeth Eide" userId="S::ree@udi.no::4c2032d3-c297-445d-a36e-66896227502f" providerId="AD" clId="Web-{97C80895-0CAF-5183-5162-0C92DF6975D0}" dt="2022-09-07T08:49:53.034" v="31" actId="1076"/>
        <pc:sldMkLst>
          <pc:docMk/>
          <pc:sldMk cId="2768647289" sldId="266"/>
        </pc:sldMkLst>
        <pc:spChg chg="mod ord">
          <ac:chgData name="Rachel Elisabeth Eide" userId="S::ree@udi.no::4c2032d3-c297-445d-a36e-66896227502f" providerId="AD" clId="Web-{97C80895-0CAF-5183-5162-0C92DF6975D0}" dt="2022-09-07T08:49:00.221" v="11"/>
          <ac:spMkLst>
            <pc:docMk/>
            <pc:sldMk cId="2768647289" sldId="266"/>
            <ac:spMk id="3" creationId="{00000000-0000-0000-0000-000000000000}"/>
          </ac:spMkLst>
        </pc:spChg>
        <pc:spChg chg="add mod ord">
          <ac:chgData name="Rachel Elisabeth Eide" userId="S::ree@udi.no::4c2032d3-c297-445d-a36e-66896227502f" providerId="AD" clId="Web-{97C80895-0CAF-5183-5162-0C92DF6975D0}" dt="2022-09-07T08:49:33.565" v="28" actId="20577"/>
          <ac:spMkLst>
            <pc:docMk/>
            <pc:sldMk cId="2768647289" sldId="266"/>
            <ac:spMk id="5" creationId="{47293BD0-1F22-0ADC-88BC-3F73435814A4}"/>
          </ac:spMkLst>
        </pc:spChg>
        <pc:picChg chg="add mod">
          <ac:chgData name="Rachel Elisabeth Eide" userId="S::ree@udi.no::4c2032d3-c297-445d-a36e-66896227502f" providerId="AD" clId="Web-{97C80895-0CAF-5183-5162-0C92DF6975D0}" dt="2022-09-07T08:49:39.877" v="30" actId="1076"/>
          <ac:picMkLst>
            <pc:docMk/>
            <pc:sldMk cId="2768647289" sldId="266"/>
            <ac:picMk id="2" creationId="{3EDA4F84-C853-9B85-8A68-F8EF18EAF519}"/>
          </ac:picMkLst>
        </pc:picChg>
        <pc:picChg chg="add mod">
          <ac:chgData name="Rachel Elisabeth Eide" userId="S::ree@udi.no::4c2032d3-c297-445d-a36e-66896227502f" providerId="AD" clId="Web-{97C80895-0CAF-5183-5162-0C92DF6975D0}" dt="2022-09-07T08:49:53.034" v="31" actId="1076"/>
          <ac:picMkLst>
            <pc:docMk/>
            <pc:sldMk cId="2768647289" sldId="266"/>
            <ac:picMk id="4" creationId="{00BCE825-86D6-BB56-465B-B6C2B0E359B8}"/>
          </ac:picMkLst>
        </pc:picChg>
        <pc:picChg chg="mod ord">
          <ac:chgData name="Rachel Elisabeth Eide" userId="S::ree@udi.no::4c2032d3-c297-445d-a36e-66896227502f" providerId="AD" clId="Web-{97C80895-0CAF-5183-5162-0C92DF6975D0}" dt="2022-09-07T08:49:35.752" v="29" actId="1076"/>
          <ac:picMkLst>
            <pc:docMk/>
            <pc:sldMk cId="2768647289" sldId="266"/>
            <ac:picMk id="7" creationId="{3E2D6B14-CEE5-44BB-9D48-53C0882C01E7}"/>
          </ac:picMkLst>
        </pc:picChg>
      </pc:sldChg>
      <pc:sldChg chg="del">
        <pc:chgData name="Rachel Elisabeth Eide" userId="S::ree@udi.no::4c2032d3-c297-445d-a36e-66896227502f" providerId="AD" clId="Web-{97C80895-0CAF-5183-5162-0C92DF6975D0}" dt="2022-09-07T08:50:10.909" v="32"/>
        <pc:sldMkLst>
          <pc:docMk/>
          <pc:sldMk cId="4216008516" sldId="267"/>
        </pc:sldMkLst>
      </pc:sldChg>
    </pc:docChg>
  </pc:docChgLst>
  <pc:docChgLst>
    <pc:chgData name="Berit Gravdahl" userId="S::begr@udi.no::ac97bd2d-417e-4a11-b74b-00b05f861710" providerId="AD" clId="Web-{3E402165-49EC-1AE6-C5D4-96A81B40489B}"/>
    <pc:docChg chg="modSld">
      <pc:chgData name="Berit Gravdahl" userId="S::begr@udi.no::ac97bd2d-417e-4a11-b74b-00b05f861710" providerId="AD" clId="Web-{3E402165-49EC-1AE6-C5D4-96A81B40489B}" dt="2022-09-08T10:46:35.677" v="19"/>
      <pc:docMkLst>
        <pc:docMk/>
      </pc:docMkLst>
      <pc:sldChg chg="modNotes">
        <pc:chgData name="Berit Gravdahl" userId="S::begr@udi.no::ac97bd2d-417e-4a11-b74b-00b05f861710" providerId="AD" clId="Web-{3E402165-49EC-1AE6-C5D4-96A81B40489B}" dt="2022-09-08T10:46:35.677" v="19"/>
        <pc:sldMkLst>
          <pc:docMk/>
          <pc:sldMk cId="3519172350" sldId="265"/>
        </pc:sldMkLst>
      </pc:sldChg>
    </pc:docChg>
  </pc:docChgLst>
  <pc:docChgLst>
    <pc:chgData name="Rachel Elisabeth Eide" userId="4c2032d3-c297-445d-a36e-66896227502f" providerId="ADAL" clId="{C74CCDFD-7109-485F-A9EB-5A62319051BA}"/>
    <pc:docChg chg="undo custSel addSld delSld modSld sldOrd modNotesMaster">
      <pc:chgData name="Rachel Elisabeth Eide" userId="4c2032d3-c297-445d-a36e-66896227502f" providerId="ADAL" clId="{C74CCDFD-7109-485F-A9EB-5A62319051BA}" dt="2022-09-26T07:14:59.253" v="30846" actId="6549"/>
      <pc:docMkLst>
        <pc:docMk/>
      </pc:docMkLst>
      <pc:sldChg chg="modSp mod delCm modCm modNotesTx">
        <pc:chgData name="Rachel Elisabeth Eide" userId="4c2032d3-c297-445d-a36e-66896227502f" providerId="ADAL" clId="{C74CCDFD-7109-485F-A9EB-5A62319051BA}" dt="2022-09-26T07:14:06.098" v="30834" actId="6549"/>
        <pc:sldMkLst>
          <pc:docMk/>
          <pc:sldMk cId="2064235866" sldId="256"/>
        </pc:sldMkLst>
        <pc:spChg chg="mod">
          <ac:chgData name="Rachel Elisabeth Eide" userId="4c2032d3-c297-445d-a36e-66896227502f" providerId="ADAL" clId="{C74CCDFD-7109-485F-A9EB-5A62319051BA}" dt="2022-09-21T19:14:46.052" v="30833" actId="1076"/>
          <ac:spMkLst>
            <pc:docMk/>
            <pc:sldMk cId="2064235866" sldId="256"/>
            <ac:spMk id="2" creationId="{00000000-0000-0000-0000-000000000000}"/>
          </ac:spMkLst>
        </pc:spChg>
        <pc:spChg chg="mod">
          <ac:chgData name="Rachel Elisabeth Eide" userId="4c2032d3-c297-445d-a36e-66896227502f" providerId="ADAL" clId="{C74CCDFD-7109-485F-A9EB-5A62319051BA}" dt="2022-09-21T19:13:17.989" v="30828" actId="20577"/>
          <ac:spMkLst>
            <pc:docMk/>
            <pc:sldMk cId="2064235866" sldId="256"/>
            <ac:spMk id="3" creationId="{00000000-0000-0000-0000-000000000000}"/>
          </ac:spMkLst>
        </pc:spChg>
      </pc:sldChg>
      <pc:sldChg chg="modSp mod modNotesTx">
        <pc:chgData name="Rachel Elisabeth Eide" userId="4c2032d3-c297-445d-a36e-66896227502f" providerId="ADAL" clId="{C74CCDFD-7109-485F-A9EB-5A62319051BA}" dt="2022-09-19T08:02:37.077" v="12342" actId="20577"/>
        <pc:sldMkLst>
          <pc:docMk/>
          <pc:sldMk cId="2277383650" sldId="264"/>
        </pc:sldMkLst>
        <pc:spChg chg="mod">
          <ac:chgData name="Rachel Elisabeth Eide" userId="4c2032d3-c297-445d-a36e-66896227502f" providerId="ADAL" clId="{C74CCDFD-7109-485F-A9EB-5A62319051BA}" dt="2022-09-19T08:01:50.458" v="12292" actId="6549"/>
          <ac:spMkLst>
            <pc:docMk/>
            <pc:sldMk cId="2277383650" sldId="264"/>
            <ac:spMk id="2" creationId="{00000000-0000-0000-0000-000000000000}"/>
          </ac:spMkLst>
        </pc:spChg>
        <pc:spChg chg="mod">
          <ac:chgData name="Rachel Elisabeth Eide" userId="4c2032d3-c297-445d-a36e-66896227502f" providerId="ADAL" clId="{C74CCDFD-7109-485F-A9EB-5A62319051BA}" dt="2022-09-19T08:02:37.077" v="12342" actId="20577"/>
          <ac:spMkLst>
            <pc:docMk/>
            <pc:sldMk cId="2277383650" sldId="264"/>
            <ac:spMk id="3" creationId="{00000000-0000-0000-0000-000000000000}"/>
          </ac:spMkLst>
        </pc:spChg>
      </pc:sldChg>
      <pc:sldChg chg="addSp delSp modSp mod ord modClrScheme chgLayout modNotes modNotesTx">
        <pc:chgData name="Rachel Elisabeth Eide" userId="4c2032d3-c297-445d-a36e-66896227502f" providerId="ADAL" clId="{C74CCDFD-7109-485F-A9EB-5A62319051BA}" dt="2022-09-13T20:55:09.596" v="10292" actId="20577"/>
        <pc:sldMkLst>
          <pc:docMk/>
          <pc:sldMk cId="3519172350" sldId="265"/>
        </pc:sldMkLst>
        <pc:spChg chg="add mod ord">
          <ac:chgData name="Rachel Elisabeth Eide" userId="4c2032d3-c297-445d-a36e-66896227502f" providerId="ADAL" clId="{C74CCDFD-7109-485F-A9EB-5A62319051BA}" dt="2022-09-09T11:30:53.101" v="3963" actId="20577"/>
          <ac:spMkLst>
            <pc:docMk/>
            <pc:sldMk cId="3519172350" sldId="265"/>
            <ac:spMk id="2" creationId="{E5BE78AD-AD94-4AA1-A028-090DAB10BB3A}"/>
          </ac:spMkLst>
        </pc:spChg>
        <pc:spChg chg="mod ord">
          <ac:chgData name="Rachel Elisabeth Eide" userId="4c2032d3-c297-445d-a36e-66896227502f" providerId="ADAL" clId="{C74CCDFD-7109-485F-A9EB-5A62319051BA}" dt="2022-09-09T08:32:18.190" v="3462" actId="26606"/>
          <ac:spMkLst>
            <pc:docMk/>
            <pc:sldMk cId="3519172350" sldId="265"/>
            <ac:spMk id="3" creationId="{00000000-0000-0000-0000-000000000000}"/>
          </ac:spMkLst>
        </pc:spChg>
        <pc:spChg chg="add mod ord">
          <ac:chgData name="Rachel Elisabeth Eide" userId="4c2032d3-c297-445d-a36e-66896227502f" providerId="ADAL" clId="{C74CCDFD-7109-485F-A9EB-5A62319051BA}" dt="2022-09-09T08:32:42.135" v="3465" actId="21"/>
          <ac:spMkLst>
            <pc:docMk/>
            <pc:sldMk cId="3519172350" sldId="265"/>
            <ac:spMk id="4" creationId="{7524FB9E-B113-4678-9F38-73856E4FDFB7}"/>
          </ac:spMkLst>
        </pc:spChg>
        <pc:spChg chg="del mod ord">
          <ac:chgData name="Rachel Elisabeth Eide" userId="4c2032d3-c297-445d-a36e-66896227502f" providerId="ADAL" clId="{C74CCDFD-7109-485F-A9EB-5A62319051BA}" dt="2022-08-30T07:41:02.331" v="58" actId="700"/>
          <ac:spMkLst>
            <pc:docMk/>
            <pc:sldMk cId="3519172350" sldId="265"/>
            <ac:spMk id="5" creationId="{00000000-0000-0000-0000-000000000000}"/>
          </ac:spMkLst>
        </pc:spChg>
        <pc:spChg chg="add del mod ord">
          <ac:chgData name="Rachel Elisabeth Eide" userId="4c2032d3-c297-445d-a36e-66896227502f" providerId="ADAL" clId="{C74CCDFD-7109-485F-A9EB-5A62319051BA}" dt="2022-09-09T08:32:02.104" v="3456" actId="931"/>
          <ac:spMkLst>
            <pc:docMk/>
            <pc:sldMk cId="3519172350" sldId="265"/>
            <ac:spMk id="5" creationId="{D28DE7F0-BDEE-410D-9758-15B03DEA58B3}"/>
          </ac:spMkLst>
        </pc:spChg>
        <pc:spChg chg="del mod ord">
          <ac:chgData name="Rachel Elisabeth Eide" userId="4c2032d3-c297-445d-a36e-66896227502f" providerId="ADAL" clId="{C74CCDFD-7109-485F-A9EB-5A62319051BA}" dt="2022-08-30T07:41:02.331" v="58" actId="700"/>
          <ac:spMkLst>
            <pc:docMk/>
            <pc:sldMk cId="3519172350" sldId="265"/>
            <ac:spMk id="6" creationId="{00000000-0000-0000-0000-000000000000}"/>
          </ac:spMkLst>
        </pc:spChg>
        <pc:spChg chg="add del mod">
          <ac:chgData name="Rachel Elisabeth Eide" userId="4c2032d3-c297-445d-a36e-66896227502f" providerId="ADAL" clId="{C74CCDFD-7109-485F-A9EB-5A62319051BA}" dt="2022-09-09T10:59:55.978" v="3768"/>
          <ac:spMkLst>
            <pc:docMk/>
            <pc:sldMk cId="3519172350" sldId="265"/>
            <ac:spMk id="8" creationId="{70E82436-58EB-4496-B73E-B5AE02DE385B}"/>
          </ac:spMkLst>
        </pc:spChg>
        <pc:spChg chg="add mod">
          <ac:chgData name="Rachel Elisabeth Eide" userId="4c2032d3-c297-445d-a36e-66896227502f" providerId="ADAL" clId="{C74CCDFD-7109-485F-A9EB-5A62319051BA}" dt="2022-09-13T20:55:09.596" v="10292" actId="20577"/>
          <ac:spMkLst>
            <pc:docMk/>
            <pc:sldMk cId="3519172350" sldId="265"/>
            <ac:spMk id="10" creationId="{F760D7BD-CBD7-4541-83B7-4AD9C6ECADF2}"/>
          </ac:spMkLst>
        </pc:spChg>
        <pc:picChg chg="add mod ord">
          <ac:chgData name="Rachel Elisabeth Eide" userId="4c2032d3-c297-445d-a36e-66896227502f" providerId="ADAL" clId="{C74CCDFD-7109-485F-A9EB-5A62319051BA}" dt="2022-09-09T11:01:15.584" v="3791" actId="29295"/>
          <ac:picMkLst>
            <pc:docMk/>
            <pc:sldMk cId="3519172350" sldId="265"/>
            <ac:picMk id="7" creationId="{7163BE91-1ACD-4335-A24B-0D87209F0ED1}"/>
          </ac:picMkLst>
        </pc:picChg>
        <pc:picChg chg="add del mod">
          <ac:chgData name="Rachel Elisabeth Eide" userId="4c2032d3-c297-445d-a36e-66896227502f" providerId="ADAL" clId="{C74CCDFD-7109-485F-A9EB-5A62319051BA}" dt="2022-09-09T10:59:48.357" v="3766"/>
          <ac:picMkLst>
            <pc:docMk/>
            <pc:sldMk cId="3519172350" sldId="265"/>
            <ac:picMk id="9" creationId="{69E1181B-81A3-4339-AF91-F60CE2C94127}"/>
          </ac:picMkLst>
        </pc:picChg>
      </pc:sldChg>
      <pc:sldChg chg="addSp delSp modSp mod ord modClrScheme chgLayout modNotes modNotesTx">
        <pc:chgData name="Rachel Elisabeth Eide" userId="4c2032d3-c297-445d-a36e-66896227502f" providerId="ADAL" clId="{C74CCDFD-7109-485F-A9EB-5A62319051BA}" dt="2022-09-26T07:14:27.032" v="30837" actId="6549"/>
        <pc:sldMkLst>
          <pc:docMk/>
          <pc:sldMk cId="2768647289" sldId="266"/>
        </pc:sldMkLst>
        <pc:spChg chg="del">
          <ac:chgData name="Rachel Elisabeth Eide" userId="4c2032d3-c297-445d-a36e-66896227502f" providerId="ADAL" clId="{C74CCDFD-7109-485F-A9EB-5A62319051BA}" dt="2022-08-30T08:20:41.136" v="438" actId="26606"/>
          <ac:spMkLst>
            <pc:docMk/>
            <pc:sldMk cId="2768647289" sldId="266"/>
            <ac:spMk id="2" creationId="{00000000-0000-0000-0000-000000000000}"/>
          </ac:spMkLst>
        </pc:spChg>
        <pc:spChg chg="mod ord">
          <ac:chgData name="Rachel Elisabeth Eide" userId="4c2032d3-c297-445d-a36e-66896227502f" providerId="ADAL" clId="{C74CCDFD-7109-485F-A9EB-5A62319051BA}" dt="2022-09-21T08:15:38.373" v="28134" actId="700"/>
          <ac:spMkLst>
            <pc:docMk/>
            <pc:sldMk cId="2768647289" sldId="266"/>
            <ac:spMk id="3" creationId="{00000000-0000-0000-0000-000000000000}"/>
          </ac:spMkLst>
        </pc:spChg>
        <pc:spChg chg="del">
          <ac:chgData name="Rachel Elisabeth Eide" userId="4c2032d3-c297-445d-a36e-66896227502f" providerId="ADAL" clId="{C74CCDFD-7109-485F-A9EB-5A62319051BA}" dt="2022-08-30T08:20:41.136" v="438" actId="26606"/>
          <ac:spMkLst>
            <pc:docMk/>
            <pc:sldMk cId="2768647289" sldId="266"/>
            <ac:spMk id="4" creationId="{00000000-0000-0000-0000-000000000000}"/>
          </ac:spMkLst>
        </pc:spChg>
        <pc:spChg chg="del">
          <ac:chgData name="Rachel Elisabeth Eide" userId="4c2032d3-c297-445d-a36e-66896227502f" providerId="ADAL" clId="{C74CCDFD-7109-485F-A9EB-5A62319051BA}" dt="2022-08-30T08:20:34.951" v="437" actId="22"/>
          <ac:spMkLst>
            <pc:docMk/>
            <pc:sldMk cId="2768647289" sldId="266"/>
            <ac:spMk id="5" creationId="{00000000-0000-0000-0000-000000000000}"/>
          </ac:spMkLst>
        </pc:spChg>
        <pc:spChg chg="mod">
          <ac:chgData name="Rachel Elisabeth Eide" userId="4c2032d3-c297-445d-a36e-66896227502f" providerId="ADAL" clId="{C74CCDFD-7109-485F-A9EB-5A62319051BA}" dt="2022-09-09T11:30:21.108" v="3911" actId="20577"/>
          <ac:spMkLst>
            <pc:docMk/>
            <pc:sldMk cId="2768647289" sldId="266"/>
            <ac:spMk id="5" creationId="{47293BD0-1F22-0ADC-88BC-3F73435814A4}"/>
          </ac:spMkLst>
        </pc:spChg>
        <pc:spChg chg="add del mod ord">
          <ac:chgData name="Rachel Elisabeth Eide" userId="4c2032d3-c297-445d-a36e-66896227502f" providerId="ADAL" clId="{C74CCDFD-7109-485F-A9EB-5A62319051BA}" dt="2022-09-21T08:15:14.875" v="28131" actId="700"/>
          <ac:spMkLst>
            <pc:docMk/>
            <pc:sldMk cId="2768647289" sldId="266"/>
            <ac:spMk id="6" creationId="{02F5C980-8C70-4ABC-B7BC-C3B7D15E5DCF}"/>
          </ac:spMkLst>
        </pc:spChg>
        <pc:spChg chg="add del mod ord">
          <ac:chgData name="Rachel Elisabeth Eide" userId="4c2032d3-c297-445d-a36e-66896227502f" providerId="ADAL" clId="{C74CCDFD-7109-485F-A9EB-5A62319051BA}" dt="2022-09-21T08:15:38.373" v="28134" actId="700"/>
          <ac:spMkLst>
            <pc:docMk/>
            <pc:sldMk cId="2768647289" sldId="266"/>
            <ac:spMk id="8" creationId="{2EFF3920-B7ED-4E97-9E33-049541B81A1D}"/>
          </ac:spMkLst>
        </pc:spChg>
        <pc:picChg chg="mod">
          <ac:chgData name="Rachel Elisabeth Eide" userId="4c2032d3-c297-445d-a36e-66896227502f" providerId="ADAL" clId="{C74CCDFD-7109-485F-A9EB-5A62319051BA}" dt="2022-09-21T08:13:54.516" v="28065" actId="1076"/>
          <ac:picMkLst>
            <pc:docMk/>
            <pc:sldMk cId="2768647289" sldId="266"/>
            <ac:picMk id="2" creationId="{3EDA4F84-C853-9B85-8A68-F8EF18EAF519}"/>
          </ac:picMkLst>
        </pc:picChg>
        <pc:picChg chg="mod">
          <ac:chgData name="Rachel Elisabeth Eide" userId="4c2032d3-c297-445d-a36e-66896227502f" providerId="ADAL" clId="{C74CCDFD-7109-485F-A9EB-5A62319051BA}" dt="2022-09-21T08:13:37.521" v="28060" actId="1076"/>
          <ac:picMkLst>
            <pc:docMk/>
            <pc:sldMk cId="2768647289" sldId="266"/>
            <ac:picMk id="4" creationId="{00BCE825-86D6-BB56-465B-B6C2B0E359B8}"/>
          </ac:picMkLst>
        </pc:picChg>
        <pc:picChg chg="add mod ord modCrop">
          <ac:chgData name="Rachel Elisabeth Eide" userId="4c2032d3-c297-445d-a36e-66896227502f" providerId="ADAL" clId="{C74CCDFD-7109-485F-A9EB-5A62319051BA}" dt="2022-09-21T08:16:03.516" v="28137" actId="14100"/>
          <ac:picMkLst>
            <pc:docMk/>
            <pc:sldMk cId="2768647289" sldId="266"/>
            <ac:picMk id="7" creationId="{3E2D6B14-CEE5-44BB-9D48-53C0882C01E7}"/>
          </ac:picMkLst>
        </pc:picChg>
        <pc:picChg chg="add del mod">
          <ac:chgData name="Rachel Elisabeth Eide" userId="4c2032d3-c297-445d-a36e-66896227502f" providerId="ADAL" clId="{C74CCDFD-7109-485F-A9EB-5A62319051BA}" dt="2022-09-08T10:57:45.855" v="1648" actId="478"/>
          <ac:picMkLst>
            <pc:docMk/>
            <pc:sldMk cId="2768647289" sldId="266"/>
            <ac:picMk id="8" creationId="{5EA0CAF2-E5C4-4AAB-8E3D-16C60B414438}"/>
          </ac:picMkLst>
        </pc:picChg>
        <pc:picChg chg="add mod">
          <ac:chgData name="Rachel Elisabeth Eide" userId="4c2032d3-c297-445d-a36e-66896227502f" providerId="ADAL" clId="{C74CCDFD-7109-485F-A9EB-5A62319051BA}" dt="2022-09-21T08:13:30.413" v="28057" actId="1076"/>
          <ac:picMkLst>
            <pc:docMk/>
            <pc:sldMk cId="2768647289" sldId="266"/>
            <ac:picMk id="10" creationId="{36367BC2-4B36-43E3-8958-490E56883791}"/>
          </ac:picMkLst>
        </pc:picChg>
      </pc:sldChg>
      <pc:sldChg chg="addSp delSp modSp mod ord modClrScheme chgLayout">
        <pc:chgData name="Rachel Elisabeth Eide" userId="4c2032d3-c297-445d-a36e-66896227502f" providerId="ADAL" clId="{C74CCDFD-7109-485F-A9EB-5A62319051BA}" dt="2022-08-30T08:19:14.560" v="436"/>
        <pc:sldMkLst>
          <pc:docMk/>
          <pc:sldMk cId="4216008516" sldId="267"/>
        </pc:sldMkLst>
        <pc:spChg chg="del">
          <ac:chgData name="Rachel Elisabeth Eide" userId="4c2032d3-c297-445d-a36e-66896227502f" providerId="ADAL" clId="{C74CCDFD-7109-485F-A9EB-5A62319051BA}" dt="2022-08-30T08:18:59.070" v="434" actId="26606"/>
          <ac:spMkLst>
            <pc:docMk/>
            <pc:sldMk cId="4216008516" sldId="267"/>
            <ac:spMk id="2" creationId="{00000000-0000-0000-0000-000000000000}"/>
          </ac:spMkLst>
        </pc:spChg>
        <pc:spChg chg="mod">
          <ac:chgData name="Rachel Elisabeth Eide" userId="4c2032d3-c297-445d-a36e-66896227502f" providerId="ADAL" clId="{C74CCDFD-7109-485F-A9EB-5A62319051BA}" dt="2022-08-30T08:18:59.070" v="434" actId="26606"/>
          <ac:spMkLst>
            <pc:docMk/>
            <pc:sldMk cId="4216008516" sldId="267"/>
            <ac:spMk id="3" creationId="{00000000-0000-0000-0000-000000000000}"/>
          </ac:spMkLst>
        </pc:spChg>
        <pc:spChg chg="del">
          <ac:chgData name="Rachel Elisabeth Eide" userId="4c2032d3-c297-445d-a36e-66896227502f" providerId="ADAL" clId="{C74CCDFD-7109-485F-A9EB-5A62319051BA}" dt="2022-08-30T08:18:59.070" v="434" actId="26606"/>
          <ac:spMkLst>
            <pc:docMk/>
            <pc:sldMk cId="4216008516" sldId="267"/>
            <ac:spMk id="4" creationId="{00000000-0000-0000-0000-000000000000}"/>
          </ac:spMkLst>
        </pc:spChg>
        <pc:spChg chg="del">
          <ac:chgData name="Rachel Elisabeth Eide" userId="4c2032d3-c297-445d-a36e-66896227502f" providerId="ADAL" clId="{C74CCDFD-7109-485F-A9EB-5A62319051BA}" dt="2022-08-30T08:18:52.231" v="433" actId="22"/>
          <ac:spMkLst>
            <pc:docMk/>
            <pc:sldMk cId="4216008516" sldId="267"/>
            <ac:spMk id="5" creationId="{00000000-0000-0000-0000-000000000000}"/>
          </ac:spMkLst>
        </pc:spChg>
        <pc:picChg chg="add mod ord modCrop">
          <ac:chgData name="Rachel Elisabeth Eide" userId="4c2032d3-c297-445d-a36e-66896227502f" providerId="ADAL" clId="{C74CCDFD-7109-485F-A9EB-5A62319051BA}" dt="2022-08-30T08:18:59.070" v="434" actId="26606"/>
          <ac:picMkLst>
            <pc:docMk/>
            <pc:sldMk cId="4216008516" sldId="267"/>
            <ac:picMk id="7" creationId="{1089D3C3-3825-4AE2-BFF9-09F8AECFE221}"/>
          </ac:picMkLst>
        </pc:picChg>
      </pc:sldChg>
      <pc:sldChg chg="del">
        <pc:chgData name="Rachel Elisabeth Eide" userId="4c2032d3-c297-445d-a36e-66896227502f" providerId="ADAL" clId="{C74CCDFD-7109-485F-A9EB-5A62319051BA}" dt="2022-09-19T11:23:35.183" v="13611" actId="2696"/>
        <pc:sldMkLst>
          <pc:docMk/>
          <pc:sldMk cId="3431905152" sldId="268"/>
        </pc:sldMkLst>
      </pc:sldChg>
      <pc:sldChg chg="modSp add del mod modNotes modNotesTx">
        <pc:chgData name="Rachel Elisabeth Eide" userId="4c2032d3-c297-445d-a36e-66896227502f" providerId="ADAL" clId="{C74CCDFD-7109-485F-A9EB-5A62319051BA}" dt="2022-09-19T11:07:17.057" v="13307" actId="2696"/>
        <pc:sldMkLst>
          <pc:docMk/>
          <pc:sldMk cId="1193424486" sldId="270"/>
        </pc:sldMkLst>
        <pc:spChg chg="mod">
          <ac:chgData name="Rachel Elisabeth Eide" userId="4c2032d3-c297-445d-a36e-66896227502f" providerId="ADAL" clId="{C74CCDFD-7109-485F-A9EB-5A62319051BA}" dt="2022-09-13T21:17:27.758" v="10528" actId="20577"/>
          <ac:spMkLst>
            <pc:docMk/>
            <pc:sldMk cId="1193424486" sldId="270"/>
            <ac:spMk id="2" creationId="{E5BE78AD-AD94-4AA1-A028-090DAB10BB3A}"/>
          </ac:spMkLst>
        </pc:spChg>
        <pc:spChg chg="mod">
          <ac:chgData name="Rachel Elisabeth Eide" userId="4c2032d3-c297-445d-a36e-66896227502f" providerId="ADAL" clId="{C74CCDFD-7109-485F-A9EB-5A62319051BA}" dt="2022-09-13T21:21:18.771" v="10889" actId="20577"/>
          <ac:spMkLst>
            <pc:docMk/>
            <pc:sldMk cId="1193424486" sldId="270"/>
            <ac:spMk id="4" creationId="{7524FB9E-B113-4678-9F38-73856E4FDFB7}"/>
          </ac:spMkLst>
        </pc:spChg>
      </pc:sldChg>
      <pc:sldChg chg="modSp add del mod">
        <pc:chgData name="Rachel Elisabeth Eide" userId="4c2032d3-c297-445d-a36e-66896227502f" providerId="ADAL" clId="{C74CCDFD-7109-485F-A9EB-5A62319051BA}" dt="2022-09-19T11:24:32.887" v="13656" actId="2696"/>
        <pc:sldMkLst>
          <pc:docMk/>
          <pc:sldMk cId="3276528207" sldId="271"/>
        </pc:sldMkLst>
        <pc:spChg chg="mod">
          <ac:chgData name="Rachel Elisabeth Eide" userId="4c2032d3-c297-445d-a36e-66896227502f" providerId="ADAL" clId="{C74CCDFD-7109-485F-A9EB-5A62319051BA}" dt="2022-08-30T08:17:13.803" v="352" actId="20577"/>
          <ac:spMkLst>
            <pc:docMk/>
            <pc:sldMk cId="3276528207" sldId="271"/>
            <ac:spMk id="2" creationId="{E5BE78AD-AD94-4AA1-A028-090DAB10BB3A}"/>
          </ac:spMkLst>
        </pc:spChg>
      </pc:sldChg>
      <pc:sldChg chg="add">
        <pc:chgData name="Rachel Elisabeth Eide" userId="4c2032d3-c297-445d-a36e-66896227502f" providerId="ADAL" clId="{C74CCDFD-7109-485F-A9EB-5A62319051BA}" dt="2022-08-30T07:41:35.450" v="67"/>
        <pc:sldMkLst>
          <pc:docMk/>
          <pc:sldMk cId="3627173309" sldId="272"/>
        </pc:sldMkLst>
      </pc:sldChg>
      <pc:sldChg chg="modSp del mod modNotesTx">
        <pc:chgData name="Rachel Elisabeth Eide" userId="4c2032d3-c297-445d-a36e-66896227502f" providerId="ADAL" clId="{C74CCDFD-7109-485F-A9EB-5A62319051BA}" dt="2022-09-12T14:23:03.788" v="6375" actId="2696"/>
        <pc:sldMkLst>
          <pc:docMk/>
          <pc:sldMk cId="1240561326" sldId="274"/>
        </pc:sldMkLst>
        <pc:spChg chg="mod">
          <ac:chgData name="Rachel Elisabeth Eide" userId="4c2032d3-c297-445d-a36e-66896227502f" providerId="ADAL" clId="{C74CCDFD-7109-485F-A9EB-5A62319051BA}" dt="2022-09-12T13:49:31.651" v="5157" actId="21"/>
          <ac:spMkLst>
            <pc:docMk/>
            <pc:sldMk cId="1240561326" sldId="274"/>
            <ac:spMk id="3" creationId="{9E439208-7281-4985-8A2C-4095ACA07739}"/>
          </ac:spMkLst>
        </pc:spChg>
      </pc:sldChg>
      <pc:sldChg chg="modSp new mod modNotesTx">
        <pc:chgData name="Rachel Elisabeth Eide" userId="4c2032d3-c297-445d-a36e-66896227502f" providerId="ADAL" clId="{C74CCDFD-7109-485F-A9EB-5A62319051BA}" dt="2022-09-19T08:10:16.779" v="12436" actId="20577"/>
        <pc:sldMkLst>
          <pc:docMk/>
          <pc:sldMk cId="303930411" sldId="276"/>
        </pc:sldMkLst>
        <pc:spChg chg="mod">
          <ac:chgData name="Rachel Elisabeth Eide" userId="4c2032d3-c297-445d-a36e-66896227502f" providerId="ADAL" clId="{C74CCDFD-7109-485F-A9EB-5A62319051BA}" dt="2022-09-09T13:17:57.841" v="5107" actId="20577"/>
          <ac:spMkLst>
            <pc:docMk/>
            <pc:sldMk cId="303930411" sldId="276"/>
            <ac:spMk id="2" creationId="{54DC6EAA-7992-4941-832A-81C7327A6D75}"/>
          </ac:spMkLst>
        </pc:spChg>
        <pc:spChg chg="mod">
          <ac:chgData name="Rachel Elisabeth Eide" userId="4c2032d3-c297-445d-a36e-66896227502f" providerId="ADAL" clId="{C74CCDFD-7109-485F-A9EB-5A62319051BA}" dt="2022-09-13T15:37:33.319" v="8209" actId="20577"/>
          <ac:spMkLst>
            <pc:docMk/>
            <pc:sldMk cId="303930411" sldId="276"/>
            <ac:spMk id="3" creationId="{96527A27-199D-4BBB-B758-33E83962788E}"/>
          </ac:spMkLst>
        </pc:spChg>
      </pc:sldChg>
      <pc:sldChg chg="addSp delSp modSp add del mod ord modClrScheme chgLayout modNotesTx">
        <pc:chgData name="Rachel Elisabeth Eide" userId="4c2032d3-c297-445d-a36e-66896227502f" providerId="ADAL" clId="{C74CCDFD-7109-485F-A9EB-5A62319051BA}" dt="2022-09-12T13:53:47.949" v="5180" actId="2696"/>
        <pc:sldMkLst>
          <pc:docMk/>
          <pc:sldMk cId="331334334" sldId="277"/>
        </pc:sldMkLst>
        <pc:spChg chg="mod ord">
          <ac:chgData name="Rachel Elisabeth Eide" userId="4c2032d3-c297-445d-a36e-66896227502f" providerId="ADAL" clId="{C74CCDFD-7109-485F-A9EB-5A62319051BA}" dt="2022-09-09T13:08:26.895" v="4469" actId="700"/>
          <ac:spMkLst>
            <pc:docMk/>
            <pc:sldMk cId="331334334" sldId="277"/>
            <ac:spMk id="2" creationId="{E5BE78AD-AD94-4AA1-A028-090DAB10BB3A}"/>
          </ac:spMkLst>
        </pc:spChg>
        <pc:spChg chg="mod ord">
          <ac:chgData name="Rachel Elisabeth Eide" userId="4c2032d3-c297-445d-a36e-66896227502f" providerId="ADAL" clId="{C74CCDFD-7109-485F-A9EB-5A62319051BA}" dt="2022-09-09T13:08:26.895" v="4469" actId="700"/>
          <ac:spMkLst>
            <pc:docMk/>
            <pc:sldMk cId="331334334" sldId="277"/>
            <ac:spMk id="3" creationId="{00000000-0000-0000-0000-000000000000}"/>
          </ac:spMkLst>
        </pc:spChg>
        <pc:spChg chg="mod ord">
          <ac:chgData name="Rachel Elisabeth Eide" userId="4c2032d3-c297-445d-a36e-66896227502f" providerId="ADAL" clId="{C74CCDFD-7109-485F-A9EB-5A62319051BA}" dt="2022-09-09T13:11:22.336" v="4701" actId="20577"/>
          <ac:spMkLst>
            <pc:docMk/>
            <pc:sldMk cId="331334334" sldId="277"/>
            <ac:spMk id="4" creationId="{7524FB9E-B113-4678-9F38-73856E4FDFB7}"/>
          </ac:spMkLst>
        </pc:spChg>
        <pc:spChg chg="add del mod ord">
          <ac:chgData name="Rachel Elisabeth Eide" userId="4c2032d3-c297-445d-a36e-66896227502f" providerId="ADAL" clId="{C74CCDFD-7109-485F-A9EB-5A62319051BA}" dt="2022-09-09T08:34:47.470" v="3495" actId="931"/>
          <ac:spMkLst>
            <pc:docMk/>
            <pc:sldMk cId="331334334" sldId="277"/>
            <ac:spMk id="5" creationId="{A763AD72-C36A-4FA7-AC28-970C6366D760}"/>
          </ac:spMkLst>
        </pc:spChg>
        <pc:picChg chg="add del mod">
          <ac:chgData name="Rachel Elisabeth Eide" userId="4c2032d3-c297-445d-a36e-66896227502f" providerId="ADAL" clId="{C74CCDFD-7109-485F-A9EB-5A62319051BA}" dt="2022-09-09T08:34:15.277" v="3494" actId="931"/>
          <ac:picMkLst>
            <pc:docMk/>
            <pc:sldMk cId="331334334" sldId="277"/>
            <ac:picMk id="7" creationId="{C5DF7646-6BB3-4F2A-8E2C-6D33AD7CAEAA}"/>
          </ac:picMkLst>
        </pc:picChg>
        <pc:picChg chg="add mod ord modCrop">
          <ac:chgData name="Rachel Elisabeth Eide" userId="4c2032d3-c297-445d-a36e-66896227502f" providerId="ADAL" clId="{C74CCDFD-7109-485F-A9EB-5A62319051BA}" dt="2022-09-09T13:09:38.290" v="4531" actId="14100"/>
          <ac:picMkLst>
            <pc:docMk/>
            <pc:sldMk cId="331334334" sldId="277"/>
            <ac:picMk id="9" creationId="{AD8C745E-7C28-41D5-8155-E24E22C00B7E}"/>
          </ac:picMkLst>
        </pc:picChg>
      </pc:sldChg>
      <pc:sldChg chg="addSp delSp modSp add del mod modShow modNotes modNotesTx">
        <pc:chgData name="Rachel Elisabeth Eide" userId="4c2032d3-c297-445d-a36e-66896227502f" providerId="ADAL" clId="{C74CCDFD-7109-485F-A9EB-5A62319051BA}" dt="2022-09-19T11:16:36.887" v="13392" actId="2696"/>
        <pc:sldMkLst>
          <pc:docMk/>
          <pc:sldMk cId="2936336141" sldId="277"/>
        </pc:sldMkLst>
        <pc:spChg chg="mod">
          <ac:chgData name="Rachel Elisabeth Eide" userId="4c2032d3-c297-445d-a36e-66896227502f" providerId="ADAL" clId="{C74CCDFD-7109-485F-A9EB-5A62319051BA}" dt="2022-09-19T11:15:20.723" v="13385"/>
          <ac:spMkLst>
            <pc:docMk/>
            <pc:sldMk cId="2936336141" sldId="277"/>
            <ac:spMk id="2" creationId="{E5BE78AD-AD94-4AA1-A028-090DAB10BB3A}"/>
          </ac:spMkLst>
        </pc:spChg>
        <pc:spChg chg="mod">
          <ac:chgData name="Rachel Elisabeth Eide" userId="4c2032d3-c297-445d-a36e-66896227502f" providerId="ADAL" clId="{C74CCDFD-7109-485F-A9EB-5A62319051BA}" dt="2022-09-19T11:15:20.723" v="13385"/>
          <ac:spMkLst>
            <pc:docMk/>
            <pc:sldMk cId="2936336141" sldId="277"/>
            <ac:spMk id="3" creationId="{00000000-0000-0000-0000-000000000000}"/>
          </ac:spMkLst>
        </pc:spChg>
        <pc:spChg chg="mod">
          <ac:chgData name="Rachel Elisabeth Eide" userId="4c2032d3-c297-445d-a36e-66896227502f" providerId="ADAL" clId="{C74CCDFD-7109-485F-A9EB-5A62319051BA}" dt="2022-09-19T11:15:20.723" v="13385"/>
          <ac:spMkLst>
            <pc:docMk/>
            <pc:sldMk cId="2936336141" sldId="277"/>
            <ac:spMk id="4" creationId="{7524FB9E-B113-4678-9F38-73856E4FDFB7}"/>
          </ac:spMkLst>
        </pc:spChg>
        <pc:spChg chg="add del mod">
          <ac:chgData name="Rachel Elisabeth Eide" userId="4c2032d3-c297-445d-a36e-66896227502f" providerId="ADAL" clId="{C74CCDFD-7109-485F-A9EB-5A62319051BA}" dt="2022-09-19T11:15:20.723" v="13385"/>
          <ac:spMkLst>
            <pc:docMk/>
            <pc:sldMk cId="2936336141" sldId="277"/>
            <ac:spMk id="5" creationId="{960481D5-F79A-4AC7-A463-3C9B3A4C2162}"/>
          </ac:spMkLst>
        </pc:spChg>
        <pc:spChg chg="add del mod">
          <ac:chgData name="Rachel Elisabeth Eide" userId="4c2032d3-c297-445d-a36e-66896227502f" providerId="ADAL" clId="{C74CCDFD-7109-485F-A9EB-5A62319051BA}" dt="2022-09-19T11:15:20.723" v="13385"/>
          <ac:spMkLst>
            <pc:docMk/>
            <pc:sldMk cId="2936336141" sldId="277"/>
            <ac:spMk id="6" creationId="{B794926B-1451-489B-8188-1044AC579E2D}"/>
          </ac:spMkLst>
        </pc:spChg>
        <pc:spChg chg="add del mod">
          <ac:chgData name="Rachel Elisabeth Eide" userId="4c2032d3-c297-445d-a36e-66896227502f" providerId="ADAL" clId="{C74CCDFD-7109-485F-A9EB-5A62319051BA}" dt="2022-09-19T11:15:20.723" v="13385"/>
          <ac:spMkLst>
            <pc:docMk/>
            <pc:sldMk cId="2936336141" sldId="277"/>
            <ac:spMk id="7" creationId="{E61496B3-7FE5-4274-BE92-69CA2C5EB048}"/>
          </ac:spMkLst>
        </pc:spChg>
        <pc:spChg chg="add del mod">
          <ac:chgData name="Rachel Elisabeth Eide" userId="4c2032d3-c297-445d-a36e-66896227502f" providerId="ADAL" clId="{C74CCDFD-7109-485F-A9EB-5A62319051BA}" dt="2022-09-19T11:15:20.323" v="13383"/>
          <ac:spMkLst>
            <pc:docMk/>
            <pc:sldMk cId="2936336141" sldId="277"/>
            <ac:spMk id="8" creationId="{18719297-FD80-4C2B-8695-BD797FCEE24D}"/>
          </ac:spMkLst>
        </pc:spChg>
        <pc:spChg chg="add del mod">
          <ac:chgData name="Rachel Elisabeth Eide" userId="4c2032d3-c297-445d-a36e-66896227502f" providerId="ADAL" clId="{C74CCDFD-7109-485F-A9EB-5A62319051BA}" dt="2022-09-19T11:15:20.323" v="13383"/>
          <ac:spMkLst>
            <pc:docMk/>
            <pc:sldMk cId="2936336141" sldId="277"/>
            <ac:spMk id="9" creationId="{76075F82-B8A4-4FBA-95C8-231F013FACF1}"/>
          </ac:spMkLst>
        </pc:spChg>
        <pc:spChg chg="add del mod">
          <ac:chgData name="Rachel Elisabeth Eide" userId="4c2032d3-c297-445d-a36e-66896227502f" providerId="ADAL" clId="{C74CCDFD-7109-485F-A9EB-5A62319051BA}" dt="2022-09-19T11:15:20.323" v="13383"/>
          <ac:spMkLst>
            <pc:docMk/>
            <pc:sldMk cId="2936336141" sldId="277"/>
            <ac:spMk id="10" creationId="{C52CD83B-7E88-4EDA-B26E-835E8B0F40D0}"/>
          </ac:spMkLst>
        </pc:spChg>
        <pc:spChg chg="add del mod">
          <ac:chgData name="Rachel Elisabeth Eide" userId="4c2032d3-c297-445d-a36e-66896227502f" providerId="ADAL" clId="{C74CCDFD-7109-485F-A9EB-5A62319051BA}" dt="2022-09-19T11:15:19.647" v="13381"/>
          <ac:spMkLst>
            <pc:docMk/>
            <pc:sldMk cId="2936336141" sldId="277"/>
            <ac:spMk id="11" creationId="{BAA6FD67-C82D-43C1-9E5D-D6CEF9FBE109}"/>
          </ac:spMkLst>
        </pc:spChg>
        <pc:spChg chg="add del mod">
          <ac:chgData name="Rachel Elisabeth Eide" userId="4c2032d3-c297-445d-a36e-66896227502f" providerId="ADAL" clId="{C74CCDFD-7109-485F-A9EB-5A62319051BA}" dt="2022-09-19T11:15:19.647" v="13381"/>
          <ac:spMkLst>
            <pc:docMk/>
            <pc:sldMk cId="2936336141" sldId="277"/>
            <ac:spMk id="12" creationId="{D226A87B-9225-48EF-B612-1C9D708B945D}"/>
          </ac:spMkLst>
        </pc:spChg>
        <pc:spChg chg="add del mod">
          <ac:chgData name="Rachel Elisabeth Eide" userId="4c2032d3-c297-445d-a36e-66896227502f" providerId="ADAL" clId="{C74CCDFD-7109-485F-A9EB-5A62319051BA}" dt="2022-09-19T11:15:19.647" v="13381"/>
          <ac:spMkLst>
            <pc:docMk/>
            <pc:sldMk cId="2936336141" sldId="277"/>
            <ac:spMk id="13" creationId="{B32C55CE-305F-4E55-ACDC-E931CA2C163C}"/>
          </ac:spMkLst>
        </pc:spChg>
      </pc:sldChg>
      <pc:sldChg chg="addSp delSp modSp new del mod modClrScheme chgLayout">
        <pc:chgData name="Rachel Elisabeth Eide" userId="4c2032d3-c297-445d-a36e-66896227502f" providerId="ADAL" clId="{C74CCDFD-7109-485F-A9EB-5A62319051BA}" dt="2022-09-13T20:41:21.266" v="10242" actId="2696"/>
        <pc:sldMkLst>
          <pc:docMk/>
          <pc:sldMk cId="3820150001" sldId="277"/>
        </pc:sldMkLst>
        <pc:spChg chg="del">
          <ac:chgData name="Rachel Elisabeth Eide" userId="4c2032d3-c297-445d-a36e-66896227502f" providerId="ADAL" clId="{C74CCDFD-7109-485F-A9EB-5A62319051BA}" dt="2022-09-12T14:41:51.719" v="6902" actId="26606"/>
          <ac:spMkLst>
            <pc:docMk/>
            <pc:sldMk cId="3820150001" sldId="277"/>
            <ac:spMk id="2" creationId="{38843B2C-B928-4F48-AF1D-4E7FC058636C}"/>
          </ac:spMkLst>
        </pc:spChg>
        <pc:spChg chg="del">
          <ac:chgData name="Rachel Elisabeth Eide" userId="4c2032d3-c297-445d-a36e-66896227502f" providerId="ADAL" clId="{C74CCDFD-7109-485F-A9EB-5A62319051BA}" dt="2022-09-12T14:41:44.367" v="6901" actId="22"/>
          <ac:spMkLst>
            <pc:docMk/>
            <pc:sldMk cId="3820150001" sldId="277"/>
            <ac:spMk id="3" creationId="{DC1EC0C6-614B-4A18-8890-E2A91595F7E7}"/>
          </ac:spMkLst>
        </pc:spChg>
        <pc:spChg chg="mod">
          <ac:chgData name="Rachel Elisabeth Eide" userId="4c2032d3-c297-445d-a36e-66896227502f" providerId="ADAL" clId="{C74CCDFD-7109-485F-A9EB-5A62319051BA}" dt="2022-09-12T14:42:18.561" v="6905" actId="26606"/>
          <ac:spMkLst>
            <pc:docMk/>
            <pc:sldMk cId="3820150001" sldId="277"/>
            <ac:spMk id="4" creationId="{8E56806D-623A-4622-B858-1B7FBE44565A}"/>
          </ac:spMkLst>
        </pc:spChg>
        <pc:spChg chg="add mod">
          <ac:chgData name="Rachel Elisabeth Eide" userId="4c2032d3-c297-445d-a36e-66896227502f" providerId="ADAL" clId="{C74CCDFD-7109-485F-A9EB-5A62319051BA}" dt="2022-09-13T15:34:33.587" v="8132" actId="478"/>
          <ac:spMkLst>
            <pc:docMk/>
            <pc:sldMk cId="3820150001" sldId="277"/>
            <ac:spMk id="8" creationId="{63793455-3EBE-4097-A7FB-BBABFAD5FABD}"/>
          </ac:spMkLst>
        </pc:spChg>
        <pc:spChg chg="add del">
          <ac:chgData name="Rachel Elisabeth Eide" userId="4c2032d3-c297-445d-a36e-66896227502f" providerId="ADAL" clId="{C74CCDFD-7109-485F-A9EB-5A62319051BA}" dt="2022-09-12T14:42:18.561" v="6905" actId="26606"/>
          <ac:spMkLst>
            <pc:docMk/>
            <pc:sldMk cId="3820150001" sldId="277"/>
            <ac:spMk id="11" creationId="{6496ADB2-65F3-723F-8007-A3E52788C97F}"/>
          </ac:spMkLst>
        </pc:spChg>
        <pc:picChg chg="add del mod ord">
          <ac:chgData name="Rachel Elisabeth Eide" userId="4c2032d3-c297-445d-a36e-66896227502f" providerId="ADAL" clId="{C74CCDFD-7109-485F-A9EB-5A62319051BA}" dt="2022-09-13T15:34:33.587" v="8132" actId="478"/>
          <ac:picMkLst>
            <pc:docMk/>
            <pc:sldMk cId="3820150001" sldId="277"/>
            <ac:picMk id="6" creationId="{915389A3-149E-4A3D-8CF9-5E3B95E8A354}"/>
          </ac:picMkLst>
        </pc:picChg>
      </pc:sldChg>
      <pc:sldChg chg="modSp new mod modNotesTx">
        <pc:chgData name="Rachel Elisabeth Eide" userId="4c2032d3-c297-445d-a36e-66896227502f" providerId="ADAL" clId="{C74CCDFD-7109-485F-A9EB-5A62319051BA}" dt="2022-09-13T21:33:57.348" v="12291" actId="20577"/>
        <pc:sldMkLst>
          <pc:docMk/>
          <pc:sldMk cId="1673804308" sldId="278"/>
        </pc:sldMkLst>
        <pc:spChg chg="mod">
          <ac:chgData name="Rachel Elisabeth Eide" userId="4c2032d3-c297-445d-a36e-66896227502f" providerId="ADAL" clId="{C74CCDFD-7109-485F-A9EB-5A62319051BA}" dt="2022-09-13T21:15:23.495" v="10327" actId="20577"/>
          <ac:spMkLst>
            <pc:docMk/>
            <pc:sldMk cId="1673804308" sldId="278"/>
            <ac:spMk id="2" creationId="{4A56793A-117F-41A6-806E-4DEC56DCCFF4}"/>
          </ac:spMkLst>
        </pc:spChg>
        <pc:spChg chg="mod">
          <ac:chgData name="Rachel Elisabeth Eide" userId="4c2032d3-c297-445d-a36e-66896227502f" providerId="ADAL" clId="{C74CCDFD-7109-485F-A9EB-5A62319051BA}" dt="2022-09-13T21:17:02.102" v="10497" actId="20577"/>
          <ac:spMkLst>
            <pc:docMk/>
            <pc:sldMk cId="1673804308" sldId="278"/>
            <ac:spMk id="3" creationId="{7DD144FF-F802-4977-9502-6317D0C13BD9}"/>
          </ac:spMkLst>
        </pc:spChg>
      </pc:sldChg>
      <pc:sldChg chg="modSp new mod">
        <pc:chgData name="Rachel Elisabeth Eide" userId="4c2032d3-c297-445d-a36e-66896227502f" providerId="ADAL" clId="{C74CCDFD-7109-485F-A9EB-5A62319051BA}" dt="2022-09-19T11:24:24.389" v="13655" actId="20577"/>
        <pc:sldMkLst>
          <pc:docMk/>
          <pc:sldMk cId="843735587" sldId="279"/>
        </pc:sldMkLst>
        <pc:spChg chg="mod">
          <ac:chgData name="Rachel Elisabeth Eide" userId="4c2032d3-c297-445d-a36e-66896227502f" providerId="ADAL" clId="{C74CCDFD-7109-485F-A9EB-5A62319051BA}" dt="2022-09-13T21:22:28.772" v="11018" actId="20577"/>
          <ac:spMkLst>
            <pc:docMk/>
            <pc:sldMk cId="843735587" sldId="279"/>
            <ac:spMk id="2" creationId="{07675709-2135-452C-8A84-0CF234CB80B7}"/>
          </ac:spMkLst>
        </pc:spChg>
        <pc:spChg chg="mod">
          <ac:chgData name="Rachel Elisabeth Eide" userId="4c2032d3-c297-445d-a36e-66896227502f" providerId="ADAL" clId="{C74CCDFD-7109-485F-A9EB-5A62319051BA}" dt="2022-09-19T11:24:24.389" v="13655" actId="20577"/>
          <ac:spMkLst>
            <pc:docMk/>
            <pc:sldMk cId="843735587" sldId="279"/>
            <ac:spMk id="3" creationId="{80F8F52E-B333-4E16-9971-C0E5B4A495C4}"/>
          </ac:spMkLst>
        </pc:spChg>
      </pc:sldChg>
      <pc:sldChg chg="modSp add mod">
        <pc:chgData name="Rachel Elisabeth Eide" userId="4c2032d3-c297-445d-a36e-66896227502f" providerId="ADAL" clId="{C74CCDFD-7109-485F-A9EB-5A62319051BA}" dt="2022-09-13T21:28:02.194" v="11456" actId="20577"/>
        <pc:sldMkLst>
          <pc:docMk/>
          <pc:sldMk cId="3631322330" sldId="280"/>
        </pc:sldMkLst>
        <pc:spChg chg="mod">
          <ac:chgData name="Rachel Elisabeth Eide" userId="4c2032d3-c297-445d-a36e-66896227502f" providerId="ADAL" clId="{C74CCDFD-7109-485F-A9EB-5A62319051BA}" dt="2022-09-13T21:23:06.956" v="11061" actId="20577"/>
          <ac:spMkLst>
            <pc:docMk/>
            <pc:sldMk cId="3631322330" sldId="280"/>
            <ac:spMk id="2" creationId="{07675709-2135-452C-8A84-0CF234CB80B7}"/>
          </ac:spMkLst>
        </pc:spChg>
        <pc:spChg chg="mod">
          <ac:chgData name="Rachel Elisabeth Eide" userId="4c2032d3-c297-445d-a36e-66896227502f" providerId="ADAL" clId="{C74CCDFD-7109-485F-A9EB-5A62319051BA}" dt="2022-09-13T21:28:02.194" v="11456" actId="20577"/>
          <ac:spMkLst>
            <pc:docMk/>
            <pc:sldMk cId="3631322330" sldId="280"/>
            <ac:spMk id="3" creationId="{80F8F52E-B333-4E16-9971-C0E5B4A495C4}"/>
          </ac:spMkLst>
        </pc:spChg>
      </pc:sldChg>
      <pc:sldChg chg="addSp modSp mod addCm delCm modCm chgLayout modNotesTx">
        <pc:chgData name="Rachel Elisabeth Eide" userId="4c2032d3-c297-445d-a36e-66896227502f" providerId="ADAL" clId="{C74CCDFD-7109-485F-A9EB-5A62319051BA}" dt="2022-09-26T07:14:19.564" v="30836" actId="6549"/>
        <pc:sldMkLst>
          <pc:docMk/>
          <pc:sldMk cId="3462161845" sldId="281"/>
        </pc:sldMkLst>
        <pc:spChg chg="add mod">
          <ac:chgData name="Rachel Elisabeth Eide" userId="4c2032d3-c297-445d-a36e-66896227502f" providerId="ADAL" clId="{C74CCDFD-7109-485F-A9EB-5A62319051BA}" dt="2022-09-19T10:57:00.884" v="13197" actId="1076"/>
          <ac:spMkLst>
            <pc:docMk/>
            <pc:sldMk cId="3462161845" sldId="281"/>
            <ac:spMk id="2" creationId="{D04596A2-6881-4834-80CE-3B4BFB10B70E}"/>
          </ac:spMkLst>
        </pc:spChg>
        <pc:spChg chg="mod ord">
          <ac:chgData name="Rachel Elisabeth Eide" userId="4c2032d3-c297-445d-a36e-66896227502f" providerId="ADAL" clId="{C74CCDFD-7109-485F-A9EB-5A62319051BA}" dt="2022-09-20T19:42:19.489" v="27929" actId="700"/>
          <ac:spMkLst>
            <pc:docMk/>
            <pc:sldMk cId="3462161845" sldId="281"/>
            <ac:spMk id="4" creationId="{638717FA-E9F5-408A-BEFC-59303497D860}"/>
          </ac:spMkLst>
        </pc:spChg>
        <pc:picChg chg="mod ord modCrop">
          <ac:chgData name="Rachel Elisabeth Eide" userId="4c2032d3-c297-445d-a36e-66896227502f" providerId="ADAL" clId="{C74CCDFD-7109-485F-A9EB-5A62319051BA}" dt="2022-09-20T19:42:19.489" v="27929" actId="700"/>
          <ac:picMkLst>
            <pc:docMk/>
            <pc:sldMk cId="3462161845" sldId="281"/>
            <ac:picMk id="6" creationId="{BEF3EFAD-D0B4-4803-BC7F-8E6849BC1BF1}"/>
          </ac:picMkLst>
        </pc:picChg>
      </pc:sldChg>
      <pc:sldChg chg="del mod modShow modNotesTx">
        <pc:chgData name="Rachel Elisabeth Eide" userId="4c2032d3-c297-445d-a36e-66896227502f" providerId="ADAL" clId="{C74CCDFD-7109-485F-A9EB-5A62319051BA}" dt="2022-09-20T19:40:04.387" v="27916" actId="47"/>
        <pc:sldMkLst>
          <pc:docMk/>
          <pc:sldMk cId="1628385383" sldId="282"/>
        </pc:sldMkLst>
      </pc:sldChg>
      <pc:sldChg chg="addSp delSp modSp add del mod modClrScheme delCm chgLayout modNotes modNotesTx">
        <pc:chgData name="Rachel Elisabeth Eide" userId="4c2032d3-c297-445d-a36e-66896227502f" providerId="ADAL" clId="{C74CCDFD-7109-485F-A9EB-5A62319051BA}" dt="2022-09-26T07:14:34.131" v="30839" actId="6549"/>
        <pc:sldMkLst>
          <pc:docMk/>
          <pc:sldMk cId="1845203572" sldId="283"/>
        </pc:sldMkLst>
        <pc:spChg chg="mod ord">
          <ac:chgData name="Rachel Elisabeth Eide" userId="4c2032d3-c297-445d-a36e-66896227502f" providerId="ADAL" clId="{C74CCDFD-7109-485F-A9EB-5A62319051BA}" dt="2022-09-20T12:51:15.211" v="25075" actId="26606"/>
          <ac:spMkLst>
            <pc:docMk/>
            <pc:sldMk cId="1845203572" sldId="283"/>
            <ac:spMk id="2" creationId="{4C81248A-5FAE-4555-AC72-97C5D2DF6FA1}"/>
          </ac:spMkLst>
        </pc:spChg>
        <pc:spChg chg="add del mod">
          <ac:chgData name="Rachel Elisabeth Eide" userId="4c2032d3-c297-445d-a36e-66896227502f" providerId="ADAL" clId="{C74CCDFD-7109-485F-A9EB-5A62319051BA}" dt="2022-09-20T12:33:05.060" v="24048" actId="26606"/>
          <ac:spMkLst>
            <pc:docMk/>
            <pc:sldMk cId="1845203572" sldId="283"/>
            <ac:spMk id="4" creationId="{5BEA3216-49F1-46D9-A2EB-FF76F0864855}"/>
          </ac:spMkLst>
        </pc:spChg>
        <pc:spChg chg="add del mod ord">
          <ac:chgData name="Rachel Elisabeth Eide" userId="4c2032d3-c297-445d-a36e-66896227502f" providerId="ADAL" clId="{C74CCDFD-7109-485F-A9EB-5A62319051BA}" dt="2022-09-20T12:34:45.825" v="24053" actId="700"/>
          <ac:spMkLst>
            <pc:docMk/>
            <pc:sldMk cId="1845203572" sldId="283"/>
            <ac:spMk id="10" creationId="{7C541480-9D7D-4226-B8E2-2191A7796500}"/>
          </ac:spMkLst>
        </pc:spChg>
        <pc:spChg chg="add del mod ord">
          <ac:chgData name="Rachel Elisabeth Eide" userId="4c2032d3-c297-445d-a36e-66896227502f" providerId="ADAL" clId="{C74CCDFD-7109-485F-A9EB-5A62319051BA}" dt="2022-09-20T12:34:45.825" v="24053" actId="700"/>
          <ac:spMkLst>
            <pc:docMk/>
            <pc:sldMk cId="1845203572" sldId="283"/>
            <ac:spMk id="11" creationId="{B3B35EF6-D58D-4B43-9E5C-88DE09793B11}"/>
          </ac:spMkLst>
        </pc:spChg>
        <pc:spChg chg="add del mod">
          <ac:chgData name="Rachel Elisabeth Eide" userId="4c2032d3-c297-445d-a36e-66896227502f" providerId="ADAL" clId="{C74CCDFD-7109-485F-A9EB-5A62319051BA}" dt="2022-09-20T12:33:43.946" v="24050" actId="26606"/>
          <ac:spMkLst>
            <pc:docMk/>
            <pc:sldMk cId="1845203572" sldId="283"/>
            <ac:spMk id="12" creationId="{EACF3EF3-AE37-4140-CE58-F35D142CBD01}"/>
          </ac:spMkLst>
        </pc:spChg>
        <pc:spChg chg="add mod ord">
          <ac:chgData name="Rachel Elisabeth Eide" userId="4c2032d3-c297-445d-a36e-66896227502f" providerId="ADAL" clId="{C74CCDFD-7109-485F-A9EB-5A62319051BA}" dt="2022-09-20T12:51:15.211" v="25075" actId="26606"/>
          <ac:spMkLst>
            <pc:docMk/>
            <pc:sldMk cId="1845203572" sldId="283"/>
            <ac:spMk id="13" creationId="{786E687A-6A9C-491A-9B14-82F9BF18F759}"/>
          </ac:spMkLst>
        </pc:spChg>
        <pc:spChg chg="add del mod">
          <ac:chgData name="Rachel Elisabeth Eide" userId="4c2032d3-c297-445d-a36e-66896227502f" providerId="ADAL" clId="{C74CCDFD-7109-485F-A9EB-5A62319051BA}" dt="2022-09-20T12:33:43.946" v="24050" actId="26606"/>
          <ac:spMkLst>
            <pc:docMk/>
            <pc:sldMk cId="1845203572" sldId="283"/>
            <ac:spMk id="14" creationId="{CA5283B2-EFC2-F4BE-72F7-021FCC5D5594}"/>
          </ac:spMkLst>
        </pc:spChg>
        <pc:spChg chg="add del mod ord">
          <ac:chgData name="Rachel Elisabeth Eide" userId="4c2032d3-c297-445d-a36e-66896227502f" providerId="ADAL" clId="{C74CCDFD-7109-485F-A9EB-5A62319051BA}" dt="2022-09-20T12:39:15.726" v="24089" actId="700"/>
          <ac:spMkLst>
            <pc:docMk/>
            <pc:sldMk cId="1845203572" sldId="283"/>
            <ac:spMk id="18" creationId="{1DC21DAE-88A5-41A3-81BF-08205DDFFDFA}"/>
          </ac:spMkLst>
        </pc:spChg>
        <pc:spChg chg="add del">
          <ac:chgData name="Rachel Elisabeth Eide" userId="4c2032d3-c297-445d-a36e-66896227502f" providerId="ADAL" clId="{C74CCDFD-7109-485F-A9EB-5A62319051BA}" dt="2022-09-20T12:34:31.754" v="24052" actId="700"/>
          <ac:spMkLst>
            <pc:docMk/>
            <pc:sldMk cId="1845203572" sldId="283"/>
            <ac:spMk id="19" creationId="{58A33494-FFCA-DE57-F72C-56D349F7239A}"/>
          </ac:spMkLst>
        </pc:spChg>
        <pc:spChg chg="add del mod ord">
          <ac:chgData name="Rachel Elisabeth Eide" userId="4c2032d3-c297-445d-a36e-66896227502f" providerId="ADAL" clId="{C74CCDFD-7109-485F-A9EB-5A62319051BA}" dt="2022-09-20T12:40:17.924" v="24120" actId="931"/>
          <ac:spMkLst>
            <pc:docMk/>
            <pc:sldMk cId="1845203572" sldId="283"/>
            <ac:spMk id="20" creationId="{B8BF506F-6ABE-44BE-9557-87CBC48B8346}"/>
          </ac:spMkLst>
        </pc:spChg>
        <pc:spChg chg="add del">
          <ac:chgData name="Rachel Elisabeth Eide" userId="4c2032d3-c297-445d-a36e-66896227502f" providerId="ADAL" clId="{C74CCDFD-7109-485F-A9EB-5A62319051BA}" dt="2022-09-20T12:34:14.250" v="24051" actId="22"/>
          <ac:spMkLst>
            <pc:docMk/>
            <pc:sldMk cId="1845203572" sldId="283"/>
            <ac:spMk id="21" creationId="{110280B0-6656-FA6B-560C-B46362C9420E}"/>
          </ac:spMkLst>
        </pc:spChg>
        <pc:spChg chg="add del mod ord">
          <ac:chgData name="Rachel Elisabeth Eide" userId="4c2032d3-c297-445d-a36e-66896227502f" providerId="ADAL" clId="{C74CCDFD-7109-485F-A9EB-5A62319051BA}" dt="2022-09-20T12:45:13.914" v="24486" actId="700"/>
          <ac:spMkLst>
            <pc:docMk/>
            <pc:sldMk cId="1845203572" sldId="283"/>
            <ac:spMk id="25" creationId="{84999A13-6CBE-4F7D-B9D2-47F25E421785}"/>
          </ac:spMkLst>
        </pc:spChg>
        <pc:spChg chg="add del mod ord">
          <ac:chgData name="Rachel Elisabeth Eide" userId="4c2032d3-c297-445d-a36e-66896227502f" providerId="ADAL" clId="{C74CCDFD-7109-485F-A9EB-5A62319051BA}" dt="2022-09-20T12:51:15.211" v="25075" actId="26606"/>
          <ac:spMkLst>
            <pc:docMk/>
            <pc:sldMk cId="1845203572" sldId="283"/>
            <ac:spMk id="26" creationId="{65224D06-3FFD-438B-A0E6-7A4922ECD2EB}"/>
          </ac:spMkLst>
        </pc:spChg>
        <pc:spChg chg="add del mod">
          <ac:chgData name="Rachel Elisabeth Eide" userId="4c2032d3-c297-445d-a36e-66896227502f" providerId="ADAL" clId="{C74CCDFD-7109-485F-A9EB-5A62319051BA}" dt="2022-09-20T12:45:13.914" v="24486" actId="700"/>
          <ac:spMkLst>
            <pc:docMk/>
            <pc:sldMk cId="1845203572" sldId="283"/>
            <ac:spMk id="28" creationId="{BFA7C4F7-A0E9-59EC-AE73-11FC97EFB3B1}"/>
          </ac:spMkLst>
        </pc:spChg>
        <pc:spChg chg="add del mod">
          <ac:chgData name="Rachel Elisabeth Eide" userId="4c2032d3-c297-445d-a36e-66896227502f" providerId="ADAL" clId="{C74CCDFD-7109-485F-A9EB-5A62319051BA}" dt="2022-09-20T12:51:11.632" v="25072" actId="26606"/>
          <ac:spMkLst>
            <pc:docMk/>
            <pc:sldMk cId="1845203572" sldId="283"/>
            <ac:spMk id="32" creationId="{67959B2F-A796-414B-54B8-88EBD67F0B2E}"/>
          </ac:spMkLst>
        </pc:spChg>
        <pc:spChg chg="add del mod">
          <ac:chgData name="Rachel Elisabeth Eide" userId="4c2032d3-c297-445d-a36e-66896227502f" providerId="ADAL" clId="{C74CCDFD-7109-485F-A9EB-5A62319051BA}" dt="2022-09-20T12:51:15.188" v="25074" actId="26606"/>
          <ac:spMkLst>
            <pc:docMk/>
            <pc:sldMk cId="1845203572" sldId="283"/>
            <ac:spMk id="34" creationId="{E2184928-C572-A439-58EC-91B7634244C6}"/>
          </ac:spMkLst>
        </pc:spChg>
        <pc:spChg chg="add del mod">
          <ac:chgData name="Rachel Elisabeth Eide" userId="4c2032d3-c297-445d-a36e-66896227502f" providerId="ADAL" clId="{C74CCDFD-7109-485F-A9EB-5A62319051BA}" dt="2022-09-20T12:51:15.188" v="25074" actId="26606"/>
          <ac:spMkLst>
            <pc:docMk/>
            <pc:sldMk cId="1845203572" sldId="283"/>
            <ac:spMk id="35" creationId="{65224D06-3FFD-438B-A0E6-7A4922ECD2EB}"/>
          </ac:spMkLst>
        </pc:spChg>
        <pc:spChg chg="add del mod">
          <ac:chgData name="Rachel Elisabeth Eide" userId="4c2032d3-c297-445d-a36e-66896227502f" providerId="ADAL" clId="{C74CCDFD-7109-485F-A9EB-5A62319051BA}" dt="2022-09-21T08:22:07.141" v="28165" actId="478"/>
          <ac:spMkLst>
            <pc:docMk/>
            <pc:sldMk cId="1845203572" sldId="283"/>
            <ac:spMk id="36" creationId="{9D164AC8-FEC1-4F53-B093-5F03557B0AE2}"/>
          </ac:spMkLst>
        </pc:spChg>
        <pc:spChg chg="add del mod">
          <ac:chgData name="Rachel Elisabeth Eide" userId="4c2032d3-c297-445d-a36e-66896227502f" providerId="ADAL" clId="{C74CCDFD-7109-485F-A9EB-5A62319051BA}" dt="2022-09-20T12:51:23.839" v="25076" actId="22"/>
          <ac:spMkLst>
            <pc:docMk/>
            <pc:sldMk cId="1845203572" sldId="283"/>
            <ac:spMk id="37" creationId="{67959B2F-A796-414B-54B8-88EBD67F0B2E}"/>
          </ac:spMkLst>
        </pc:spChg>
        <pc:spChg chg="add del mod">
          <ac:chgData name="Rachel Elisabeth Eide" userId="4c2032d3-c297-445d-a36e-66896227502f" providerId="ADAL" clId="{C74CCDFD-7109-485F-A9EB-5A62319051BA}" dt="2022-09-21T08:22:47.059" v="28170" actId="478"/>
          <ac:spMkLst>
            <pc:docMk/>
            <pc:sldMk cId="1845203572" sldId="283"/>
            <ac:spMk id="44" creationId="{E938CFEC-7B0C-4E0F-A47F-B2238BD79432}"/>
          </ac:spMkLst>
        </pc:spChg>
        <pc:graphicFrameChg chg="add del">
          <ac:chgData name="Rachel Elisabeth Eide" userId="4c2032d3-c297-445d-a36e-66896227502f" providerId="ADAL" clId="{C74CCDFD-7109-485F-A9EB-5A62319051BA}" dt="2022-09-20T12:50:04.800" v="25070" actId="26606"/>
          <ac:graphicFrameMkLst>
            <pc:docMk/>
            <pc:sldMk cId="1845203572" sldId="283"/>
            <ac:graphicFrameMk id="29" creationId="{60624937-84EB-B534-8787-5B12370ED3CA}"/>
          </ac:graphicFrameMkLst>
        </pc:graphicFrameChg>
        <pc:graphicFrameChg chg="add del mod">
          <ac:chgData name="Rachel Elisabeth Eide" userId="4c2032d3-c297-445d-a36e-66896227502f" providerId="ADAL" clId="{C74CCDFD-7109-485F-A9EB-5A62319051BA}" dt="2022-09-20T12:51:11.632" v="25072" actId="26606"/>
          <ac:graphicFrameMkLst>
            <pc:docMk/>
            <pc:sldMk cId="1845203572" sldId="283"/>
            <ac:graphicFrameMk id="31" creationId="{77B770E7-FC15-C911-328D-150D9C92AE9B}"/>
          </ac:graphicFrameMkLst>
        </pc:graphicFrameChg>
        <pc:graphicFrameChg chg="add del mod">
          <ac:chgData name="Rachel Elisabeth Eide" userId="4c2032d3-c297-445d-a36e-66896227502f" providerId="ADAL" clId="{C74CCDFD-7109-485F-A9EB-5A62319051BA}" dt="2022-09-21T08:18:33.004" v="28152" actId="478"/>
          <ac:graphicFrameMkLst>
            <pc:docMk/>
            <pc:sldMk cId="1845203572" sldId="283"/>
            <ac:graphicFrameMk id="38" creationId="{77B770E7-FC15-C911-328D-150D9C92AE9B}"/>
          </ac:graphicFrameMkLst>
        </pc:graphicFrameChg>
        <pc:picChg chg="del">
          <ac:chgData name="Rachel Elisabeth Eide" userId="4c2032d3-c297-445d-a36e-66896227502f" providerId="ADAL" clId="{C74CCDFD-7109-485F-A9EB-5A62319051BA}" dt="2022-09-20T12:32:57.484" v="24046" actId="478"/>
          <ac:picMkLst>
            <pc:docMk/>
            <pc:sldMk cId="1845203572" sldId="283"/>
            <ac:picMk id="5" creationId="{66012EA6-C70B-46A4-8660-C50FB86A93F3}"/>
          </ac:picMkLst>
        </pc:picChg>
        <pc:picChg chg="add del mod ord">
          <ac:chgData name="Rachel Elisabeth Eide" userId="4c2032d3-c297-445d-a36e-66896227502f" providerId="ADAL" clId="{C74CCDFD-7109-485F-A9EB-5A62319051BA}" dt="2022-09-20T12:38:14.279" v="24083" actId="478"/>
          <ac:picMkLst>
            <pc:docMk/>
            <pc:sldMk cId="1845203572" sldId="283"/>
            <ac:picMk id="7" creationId="{7D897D73-6D61-4790-BCEE-B4C63F6A5464}"/>
          </ac:picMkLst>
        </pc:picChg>
        <pc:picChg chg="add del mod ord">
          <ac:chgData name="Rachel Elisabeth Eide" userId="4c2032d3-c297-445d-a36e-66896227502f" providerId="ADAL" clId="{C74CCDFD-7109-485F-A9EB-5A62319051BA}" dt="2022-09-20T12:38:17.195" v="24084" actId="478"/>
          <ac:picMkLst>
            <pc:docMk/>
            <pc:sldMk cId="1845203572" sldId="283"/>
            <ac:picMk id="9" creationId="{1A9B59B5-BB18-431A-AA40-E3D5F25ED021}"/>
          </ac:picMkLst>
        </pc:picChg>
        <pc:picChg chg="add del mod ord">
          <ac:chgData name="Rachel Elisabeth Eide" userId="4c2032d3-c297-445d-a36e-66896227502f" providerId="ADAL" clId="{C74CCDFD-7109-485F-A9EB-5A62319051BA}" dt="2022-09-20T12:38:36.905" v="24086" actId="478"/>
          <ac:picMkLst>
            <pc:docMk/>
            <pc:sldMk cId="1845203572" sldId="283"/>
            <ac:picMk id="16" creationId="{32D1D246-987B-4079-ABDB-94DEF46F85D0}"/>
          </ac:picMkLst>
        </pc:picChg>
        <pc:picChg chg="add del mod">
          <ac:chgData name="Rachel Elisabeth Eide" userId="4c2032d3-c297-445d-a36e-66896227502f" providerId="ADAL" clId="{C74CCDFD-7109-485F-A9EB-5A62319051BA}" dt="2022-09-20T12:45:08.033" v="24485" actId="478"/>
          <ac:picMkLst>
            <pc:docMk/>
            <pc:sldMk cId="1845203572" sldId="283"/>
            <ac:picMk id="23" creationId="{24A5C400-EDD7-4248-A324-DB298639B40E}"/>
          </ac:picMkLst>
        </pc:picChg>
        <pc:picChg chg="add mod ord">
          <ac:chgData name="Rachel Elisabeth Eide" userId="4c2032d3-c297-445d-a36e-66896227502f" providerId="ADAL" clId="{C74CCDFD-7109-485F-A9EB-5A62319051BA}" dt="2022-09-20T12:51:48.537" v="25080" actId="1076"/>
          <ac:picMkLst>
            <pc:docMk/>
            <pc:sldMk cId="1845203572" sldId="283"/>
            <ac:picMk id="30" creationId="{F3A1592F-DE6A-4ADD-BA08-D68E234B6986}"/>
          </ac:picMkLst>
        </pc:picChg>
        <pc:picChg chg="add mod">
          <ac:chgData name="Rachel Elisabeth Eide" userId="4c2032d3-c297-445d-a36e-66896227502f" providerId="ADAL" clId="{C74CCDFD-7109-485F-A9EB-5A62319051BA}" dt="2022-09-21T08:20:52.354" v="28158" actId="1076"/>
          <ac:picMkLst>
            <pc:docMk/>
            <pc:sldMk cId="1845203572" sldId="283"/>
            <ac:picMk id="40" creationId="{2DB0172E-500E-410D-B702-70421940AD6F}"/>
          </ac:picMkLst>
        </pc:picChg>
        <pc:picChg chg="add mod">
          <ac:chgData name="Rachel Elisabeth Eide" userId="4c2032d3-c297-445d-a36e-66896227502f" providerId="ADAL" clId="{C74CCDFD-7109-485F-A9EB-5A62319051BA}" dt="2022-09-21T08:23:18.081" v="28174" actId="1076"/>
          <ac:picMkLst>
            <pc:docMk/>
            <pc:sldMk cId="1845203572" sldId="283"/>
            <ac:picMk id="42" creationId="{47E95281-E89C-4D97-93FD-2E2AB28B2EAD}"/>
          </ac:picMkLst>
        </pc:picChg>
        <pc:picChg chg="add mod">
          <ac:chgData name="Rachel Elisabeth Eide" userId="4c2032d3-c297-445d-a36e-66896227502f" providerId="ADAL" clId="{C74CCDFD-7109-485F-A9EB-5A62319051BA}" dt="2022-09-21T08:23:52.153" v="28179" actId="1076"/>
          <ac:picMkLst>
            <pc:docMk/>
            <pc:sldMk cId="1845203572" sldId="283"/>
            <ac:picMk id="46" creationId="{ECB901FF-7144-4C73-9C00-191F7F0997E8}"/>
          </ac:picMkLst>
        </pc:picChg>
        <pc:picChg chg="add mod">
          <ac:chgData name="Rachel Elisabeth Eide" userId="4c2032d3-c297-445d-a36e-66896227502f" providerId="ADAL" clId="{C74CCDFD-7109-485F-A9EB-5A62319051BA}" dt="2022-09-21T08:23:48.695" v="28178" actId="1076"/>
          <ac:picMkLst>
            <pc:docMk/>
            <pc:sldMk cId="1845203572" sldId="283"/>
            <ac:picMk id="48" creationId="{9D9645AE-4486-427F-AC82-904E75B035D5}"/>
          </ac:picMkLst>
        </pc:picChg>
      </pc:sldChg>
      <pc:sldChg chg="addSp modSp mod delCm modCm modNotes modNotesTx">
        <pc:chgData name="Rachel Elisabeth Eide" userId="4c2032d3-c297-445d-a36e-66896227502f" providerId="ADAL" clId="{C74CCDFD-7109-485F-A9EB-5A62319051BA}" dt="2022-09-26T07:14:37.796" v="30840" actId="6549"/>
        <pc:sldMkLst>
          <pc:docMk/>
          <pc:sldMk cId="3456094629" sldId="284"/>
        </pc:sldMkLst>
        <pc:spChg chg="add mod">
          <ac:chgData name="Rachel Elisabeth Eide" userId="4c2032d3-c297-445d-a36e-66896227502f" providerId="ADAL" clId="{C74CCDFD-7109-485F-A9EB-5A62319051BA}" dt="2022-09-21T08:08:06.985" v="27934" actId="20577"/>
          <ac:spMkLst>
            <pc:docMk/>
            <pc:sldMk cId="3456094629" sldId="284"/>
            <ac:spMk id="2" creationId="{3B2A5384-9CDB-4C09-A9BB-4AC7FC1DAD9B}"/>
          </ac:spMkLst>
        </pc:spChg>
      </pc:sldChg>
      <pc:sldChg chg="addSp delSp modSp mod modClrScheme delCm chgLayout modNotes modNotesTx">
        <pc:chgData name="Rachel Elisabeth Eide" userId="4c2032d3-c297-445d-a36e-66896227502f" providerId="ADAL" clId="{C74CCDFD-7109-485F-A9EB-5A62319051BA}" dt="2022-09-26T07:14:41.914" v="30841" actId="6549"/>
        <pc:sldMkLst>
          <pc:docMk/>
          <pc:sldMk cId="365082603" sldId="285"/>
        </pc:sldMkLst>
        <pc:spChg chg="mod ord">
          <ac:chgData name="Rachel Elisabeth Eide" userId="4c2032d3-c297-445d-a36e-66896227502f" providerId="ADAL" clId="{C74CCDFD-7109-485F-A9EB-5A62319051BA}" dt="2022-09-20T19:20:11.018" v="27848" actId="20577"/>
          <ac:spMkLst>
            <pc:docMk/>
            <pc:sldMk cId="365082603" sldId="285"/>
            <ac:spMk id="2" creationId="{4CC425C6-8A99-4765-A6AF-D1AAB7FFB1E6}"/>
          </ac:spMkLst>
        </pc:spChg>
        <pc:spChg chg="mod ord">
          <ac:chgData name="Rachel Elisabeth Eide" userId="4c2032d3-c297-445d-a36e-66896227502f" providerId="ADAL" clId="{C74CCDFD-7109-485F-A9EB-5A62319051BA}" dt="2022-09-20T18:50:45.408" v="26691" actId="26606"/>
          <ac:spMkLst>
            <pc:docMk/>
            <pc:sldMk cId="365082603" sldId="285"/>
            <ac:spMk id="3" creationId="{E16BBEB8-EDAF-40F5-A88C-2BCE4505548A}"/>
          </ac:spMkLst>
        </pc:spChg>
        <pc:spChg chg="add mod">
          <ac:chgData name="Rachel Elisabeth Eide" userId="4c2032d3-c297-445d-a36e-66896227502f" providerId="ADAL" clId="{C74CCDFD-7109-485F-A9EB-5A62319051BA}" dt="2022-09-19T13:14:37.436" v="14711" actId="6549"/>
          <ac:spMkLst>
            <pc:docMk/>
            <pc:sldMk cId="365082603" sldId="285"/>
            <ac:spMk id="7" creationId="{35B2DC7A-CC5D-49F6-AB88-6AE395D02AE4}"/>
          </ac:spMkLst>
        </pc:spChg>
        <pc:spChg chg="add mod">
          <ac:chgData name="Rachel Elisabeth Eide" userId="4c2032d3-c297-445d-a36e-66896227502f" providerId="ADAL" clId="{C74CCDFD-7109-485F-A9EB-5A62319051BA}" dt="2022-09-21T13:46:46.481" v="30814" actId="20577"/>
          <ac:spMkLst>
            <pc:docMk/>
            <pc:sldMk cId="365082603" sldId="285"/>
            <ac:spMk id="9" creationId="{AF018143-5E60-8FA0-212A-271F2633196A}"/>
          </ac:spMkLst>
        </pc:spChg>
        <pc:spChg chg="add del mod">
          <ac:chgData name="Rachel Elisabeth Eide" userId="4c2032d3-c297-445d-a36e-66896227502f" providerId="ADAL" clId="{C74CCDFD-7109-485F-A9EB-5A62319051BA}" dt="2022-09-19T13:15:09.849" v="14716" actId="26606"/>
          <ac:spMkLst>
            <pc:docMk/>
            <pc:sldMk cId="365082603" sldId="285"/>
            <ac:spMk id="12" creationId="{7B1B1C6C-8868-5BBD-BCA8-F03D5B893293}"/>
          </ac:spMkLst>
        </pc:spChg>
        <pc:picChg chg="mod ord modCrop">
          <ac:chgData name="Rachel Elisabeth Eide" userId="4c2032d3-c297-445d-a36e-66896227502f" providerId="ADAL" clId="{C74CCDFD-7109-485F-A9EB-5A62319051BA}" dt="2022-09-20T18:50:45.408" v="26691" actId="26606"/>
          <ac:picMkLst>
            <pc:docMk/>
            <pc:sldMk cId="365082603" sldId="285"/>
            <ac:picMk id="6" creationId="{2A1BA45C-C525-4972-9547-E4183BA1761D}"/>
          </ac:picMkLst>
        </pc:picChg>
      </pc:sldChg>
      <pc:sldChg chg="modSp new mod modNotesTx">
        <pc:chgData name="Rachel Elisabeth Eide" userId="4c2032d3-c297-445d-a36e-66896227502f" providerId="ADAL" clId="{C74CCDFD-7109-485F-A9EB-5A62319051BA}" dt="2022-09-19T11:11:37.692" v="13349"/>
        <pc:sldMkLst>
          <pc:docMk/>
          <pc:sldMk cId="2943401577" sldId="286"/>
        </pc:sldMkLst>
        <pc:spChg chg="mod">
          <ac:chgData name="Rachel Elisabeth Eide" userId="4c2032d3-c297-445d-a36e-66896227502f" providerId="ADAL" clId="{C74CCDFD-7109-485F-A9EB-5A62319051BA}" dt="2022-09-19T11:11:16.167" v="13343" actId="20577"/>
          <ac:spMkLst>
            <pc:docMk/>
            <pc:sldMk cId="2943401577" sldId="286"/>
            <ac:spMk id="2" creationId="{3EEDC718-CFB0-41B0-B185-900D17D82BBD}"/>
          </ac:spMkLst>
        </pc:spChg>
        <pc:spChg chg="mod">
          <ac:chgData name="Rachel Elisabeth Eide" userId="4c2032d3-c297-445d-a36e-66896227502f" providerId="ADAL" clId="{C74CCDFD-7109-485F-A9EB-5A62319051BA}" dt="2022-09-19T11:11:22.119" v="13346"/>
          <ac:spMkLst>
            <pc:docMk/>
            <pc:sldMk cId="2943401577" sldId="286"/>
            <ac:spMk id="3" creationId="{42B36275-82B9-4609-9061-E8297DA135AF}"/>
          </ac:spMkLst>
        </pc:spChg>
      </pc:sldChg>
      <pc:sldChg chg="addSp delSp modSp del mod modClrScheme chgLayout">
        <pc:chgData name="Rachel Elisabeth Eide" userId="4c2032d3-c297-445d-a36e-66896227502f" providerId="ADAL" clId="{C74CCDFD-7109-485F-A9EB-5A62319051BA}" dt="2022-09-19T11:16:43.329" v="13393" actId="2696"/>
        <pc:sldMkLst>
          <pc:docMk/>
          <pc:sldMk cId="2560919519" sldId="287"/>
        </pc:sldMkLst>
        <pc:spChg chg="del mod ord">
          <ac:chgData name="Rachel Elisabeth Eide" userId="4c2032d3-c297-445d-a36e-66896227502f" providerId="ADAL" clId="{C74CCDFD-7109-485F-A9EB-5A62319051BA}" dt="2022-09-19T11:16:09.586" v="13387" actId="700"/>
          <ac:spMkLst>
            <pc:docMk/>
            <pc:sldMk cId="2560919519" sldId="287"/>
            <ac:spMk id="2" creationId="{ECBABC31-6339-4498-9F35-1DDE02F4E726}"/>
          </ac:spMkLst>
        </pc:spChg>
        <pc:spChg chg="mod ord">
          <ac:chgData name="Rachel Elisabeth Eide" userId="4c2032d3-c297-445d-a36e-66896227502f" providerId="ADAL" clId="{C74CCDFD-7109-485F-A9EB-5A62319051BA}" dt="2022-09-19T11:16:09.586" v="13387" actId="700"/>
          <ac:spMkLst>
            <pc:docMk/>
            <pc:sldMk cId="2560919519" sldId="287"/>
            <ac:spMk id="3" creationId="{00B2AA85-9C4F-44EF-A94D-E68A7436906E}"/>
          </ac:spMkLst>
        </pc:spChg>
        <pc:spChg chg="del">
          <ac:chgData name="Rachel Elisabeth Eide" userId="4c2032d3-c297-445d-a36e-66896227502f" providerId="ADAL" clId="{C74CCDFD-7109-485F-A9EB-5A62319051BA}" dt="2022-09-19T11:16:09.586" v="13387" actId="700"/>
          <ac:spMkLst>
            <pc:docMk/>
            <pc:sldMk cId="2560919519" sldId="287"/>
            <ac:spMk id="4" creationId="{F9ADC101-F003-4259-8195-2467E9BC02BD}"/>
          </ac:spMkLst>
        </pc:spChg>
        <pc:spChg chg="del mod ord">
          <ac:chgData name="Rachel Elisabeth Eide" userId="4c2032d3-c297-445d-a36e-66896227502f" providerId="ADAL" clId="{C74CCDFD-7109-485F-A9EB-5A62319051BA}" dt="2022-09-19T11:16:09.586" v="13387" actId="700"/>
          <ac:spMkLst>
            <pc:docMk/>
            <pc:sldMk cId="2560919519" sldId="287"/>
            <ac:spMk id="5" creationId="{20939A3F-D603-4BB0-B170-05BA28EBBE7E}"/>
          </ac:spMkLst>
        </pc:spChg>
        <pc:spChg chg="add mod ord">
          <ac:chgData name="Rachel Elisabeth Eide" userId="4c2032d3-c297-445d-a36e-66896227502f" providerId="ADAL" clId="{C74CCDFD-7109-485F-A9EB-5A62319051BA}" dt="2022-09-19T11:16:09.586" v="13387" actId="700"/>
          <ac:spMkLst>
            <pc:docMk/>
            <pc:sldMk cId="2560919519" sldId="287"/>
            <ac:spMk id="6" creationId="{DEF548D5-10BD-49DF-B2EF-BEA3EC682A5D}"/>
          </ac:spMkLst>
        </pc:spChg>
        <pc:spChg chg="add mod ord">
          <ac:chgData name="Rachel Elisabeth Eide" userId="4c2032d3-c297-445d-a36e-66896227502f" providerId="ADAL" clId="{C74CCDFD-7109-485F-A9EB-5A62319051BA}" dt="2022-09-19T11:16:09.586" v="13387" actId="700"/>
          <ac:spMkLst>
            <pc:docMk/>
            <pc:sldMk cId="2560919519" sldId="287"/>
            <ac:spMk id="7" creationId="{0872D16F-55A9-4805-A702-DAB6A5F0F1D3}"/>
          </ac:spMkLst>
        </pc:spChg>
        <pc:spChg chg="add mod">
          <ac:chgData name="Rachel Elisabeth Eide" userId="4c2032d3-c297-445d-a36e-66896227502f" providerId="ADAL" clId="{C74CCDFD-7109-485F-A9EB-5A62319051BA}" dt="2022-09-19T11:16:19.995" v="13390" actId="14100"/>
          <ac:spMkLst>
            <pc:docMk/>
            <pc:sldMk cId="2560919519" sldId="287"/>
            <ac:spMk id="9" creationId="{DC132456-8824-498E-B9B0-6F453250C0BC}"/>
          </ac:spMkLst>
        </pc:spChg>
      </pc:sldChg>
      <pc:sldChg chg="addSp modSp add mod ord modClrScheme modShow delCm modCm chgLayout modNotes modNotesTx">
        <pc:chgData name="Rachel Elisabeth Eide" userId="4c2032d3-c297-445d-a36e-66896227502f" providerId="ADAL" clId="{C74CCDFD-7109-485F-A9EB-5A62319051BA}" dt="2022-09-26T07:14:49.156" v="30843" actId="6549"/>
        <pc:sldMkLst>
          <pc:docMk/>
          <pc:sldMk cId="3242811176" sldId="288"/>
        </pc:sldMkLst>
        <pc:spChg chg="mod ord">
          <ac:chgData name="Rachel Elisabeth Eide" userId="4c2032d3-c297-445d-a36e-66896227502f" providerId="ADAL" clId="{C74CCDFD-7109-485F-A9EB-5A62319051BA}" dt="2022-09-21T09:24:48.335" v="30095" actId="20577"/>
          <ac:spMkLst>
            <pc:docMk/>
            <pc:sldMk cId="3242811176" sldId="288"/>
            <ac:spMk id="2" creationId="{E5BE78AD-AD94-4AA1-A028-090DAB10BB3A}"/>
          </ac:spMkLst>
        </pc:spChg>
        <pc:spChg chg="mod ord">
          <ac:chgData name="Rachel Elisabeth Eide" userId="4c2032d3-c297-445d-a36e-66896227502f" providerId="ADAL" clId="{C74CCDFD-7109-485F-A9EB-5A62319051BA}" dt="2022-09-20T19:03:46.290" v="27607" actId="700"/>
          <ac:spMkLst>
            <pc:docMk/>
            <pc:sldMk cId="3242811176" sldId="288"/>
            <ac:spMk id="3" creationId="{00000000-0000-0000-0000-000000000000}"/>
          </ac:spMkLst>
        </pc:spChg>
        <pc:spChg chg="mod ord">
          <ac:chgData name="Rachel Elisabeth Eide" userId="4c2032d3-c297-445d-a36e-66896227502f" providerId="ADAL" clId="{C74CCDFD-7109-485F-A9EB-5A62319051BA}" dt="2022-09-20T19:03:46.290" v="27607" actId="700"/>
          <ac:spMkLst>
            <pc:docMk/>
            <pc:sldMk cId="3242811176" sldId="288"/>
            <ac:spMk id="4" creationId="{7524FB9E-B113-4678-9F38-73856E4FDFB7}"/>
          </ac:spMkLst>
        </pc:spChg>
        <pc:spChg chg="add mod ord">
          <ac:chgData name="Rachel Elisabeth Eide" userId="4c2032d3-c297-445d-a36e-66896227502f" providerId="ADAL" clId="{C74CCDFD-7109-485F-A9EB-5A62319051BA}" dt="2022-09-20T19:03:46.290" v="27607" actId="700"/>
          <ac:spMkLst>
            <pc:docMk/>
            <pc:sldMk cId="3242811176" sldId="288"/>
            <ac:spMk id="11" creationId="{E246165D-C1E6-4A16-A9B1-890F0761B218}"/>
          </ac:spMkLst>
        </pc:spChg>
        <pc:picChg chg="add mod">
          <ac:chgData name="Rachel Elisabeth Eide" userId="4c2032d3-c297-445d-a36e-66896227502f" providerId="ADAL" clId="{C74CCDFD-7109-485F-A9EB-5A62319051BA}" dt="2022-09-20T19:03:57.779" v="27608" actId="1076"/>
          <ac:picMkLst>
            <pc:docMk/>
            <pc:sldMk cId="3242811176" sldId="288"/>
            <ac:picMk id="6" creationId="{F491D1C8-7FE2-41C0-9A37-6B86D59868EB}"/>
          </ac:picMkLst>
        </pc:picChg>
        <pc:picChg chg="add mod">
          <ac:chgData name="Rachel Elisabeth Eide" userId="4c2032d3-c297-445d-a36e-66896227502f" providerId="ADAL" clId="{C74CCDFD-7109-485F-A9EB-5A62319051BA}" dt="2022-09-20T19:04:16.659" v="27613" actId="14100"/>
          <ac:picMkLst>
            <pc:docMk/>
            <pc:sldMk cId="3242811176" sldId="288"/>
            <ac:picMk id="8" creationId="{0B3B1F1A-AC7E-4FA7-9F03-DB28727C775A}"/>
          </ac:picMkLst>
        </pc:picChg>
        <pc:picChg chg="add mod">
          <ac:chgData name="Rachel Elisabeth Eide" userId="4c2032d3-c297-445d-a36e-66896227502f" providerId="ADAL" clId="{C74CCDFD-7109-485F-A9EB-5A62319051BA}" dt="2022-09-20T19:04:11.896" v="27611" actId="14100"/>
          <ac:picMkLst>
            <pc:docMk/>
            <pc:sldMk cId="3242811176" sldId="288"/>
            <ac:picMk id="10" creationId="{0A2660BB-4A8A-444D-8B42-113029DF5284}"/>
          </ac:picMkLst>
        </pc:picChg>
      </pc:sldChg>
      <pc:sldChg chg="addSp delSp modSp mod modClrScheme chgLayout modNotesTx">
        <pc:chgData name="Rachel Elisabeth Eide" userId="4c2032d3-c297-445d-a36e-66896227502f" providerId="ADAL" clId="{C74CCDFD-7109-485F-A9EB-5A62319051BA}" dt="2022-09-19T13:20:59.893" v="15108"/>
        <pc:sldMkLst>
          <pc:docMk/>
          <pc:sldMk cId="2092531965" sldId="289"/>
        </pc:sldMkLst>
        <pc:spChg chg="mod ord">
          <ac:chgData name="Rachel Elisabeth Eide" userId="4c2032d3-c297-445d-a36e-66896227502f" providerId="ADAL" clId="{C74CCDFD-7109-485F-A9EB-5A62319051BA}" dt="2022-09-19T13:18:55.329" v="14976" actId="700"/>
          <ac:spMkLst>
            <pc:docMk/>
            <pc:sldMk cId="2092531965" sldId="289"/>
            <ac:spMk id="2" creationId="{8F928BC7-D3F6-412D-87D8-0C37E3F45F43}"/>
          </ac:spMkLst>
        </pc:spChg>
        <pc:spChg chg="mod ord">
          <ac:chgData name="Rachel Elisabeth Eide" userId="4c2032d3-c297-445d-a36e-66896227502f" providerId="ADAL" clId="{C74CCDFD-7109-485F-A9EB-5A62319051BA}" dt="2022-09-19T13:18:55.329" v="14976" actId="700"/>
          <ac:spMkLst>
            <pc:docMk/>
            <pc:sldMk cId="2092531965" sldId="289"/>
            <ac:spMk id="3" creationId="{D6A3D103-0501-4E9C-B4CE-1E88A8243D4E}"/>
          </ac:spMkLst>
        </pc:spChg>
        <pc:spChg chg="del mod ord">
          <ac:chgData name="Rachel Elisabeth Eide" userId="4c2032d3-c297-445d-a36e-66896227502f" providerId="ADAL" clId="{C74CCDFD-7109-485F-A9EB-5A62319051BA}" dt="2022-09-19T13:18:55.329" v="14976" actId="700"/>
          <ac:spMkLst>
            <pc:docMk/>
            <pc:sldMk cId="2092531965" sldId="289"/>
            <ac:spMk id="4" creationId="{18FFA259-3B19-40E6-ADE6-6A4F99EA5198}"/>
          </ac:spMkLst>
        </pc:spChg>
        <pc:spChg chg="del">
          <ac:chgData name="Rachel Elisabeth Eide" userId="4c2032d3-c297-445d-a36e-66896227502f" providerId="ADAL" clId="{C74CCDFD-7109-485F-A9EB-5A62319051BA}" dt="2022-09-19T13:18:55.329" v="14976" actId="700"/>
          <ac:spMkLst>
            <pc:docMk/>
            <pc:sldMk cId="2092531965" sldId="289"/>
            <ac:spMk id="5" creationId="{FB9B0D6D-F048-44C6-A841-00A41AAD7F2A}"/>
          </ac:spMkLst>
        </pc:spChg>
        <pc:spChg chg="add mod ord">
          <ac:chgData name="Rachel Elisabeth Eide" userId="4c2032d3-c297-445d-a36e-66896227502f" providerId="ADAL" clId="{C74CCDFD-7109-485F-A9EB-5A62319051BA}" dt="2022-09-19T13:18:55.329" v="14976" actId="700"/>
          <ac:spMkLst>
            <pc:docMk/>
            <pc:sldMk cId="2092531965" sldId="289"/>
            <ac:spMk id="6" creationId="{AC10BAA9-3EBF-4016-91E9-E120BA386542}"/>
          </ac:spMkLst>
        </pc:spChg>
      </pc:sldChg>
      <pc:sldChg chg="addSp modSp mod modClrScheme addCm delCm modCm chgLayout modNotes modNotesTx">
        <pc:chgData name="Rachel Elisabeth Eide" userId="4c2032d3-c297-445d-a36e-66896227502f" providerId="ADAL" clId="{C74CCDFD-7109-485F-A9EB-5A62319051BA}" dt="2022-09-26T07:14:59.253" v="30846" actId="6549"/>
        <pc:sldMkLst>
          <pc:docMk/>
          <pc:sldMk cId="3295221613" sldId="290"/>
        </pc:sldMkLst>
        <pc:spChg chg="add mod ord">
          <ac:chgData name="Rachel Elisabeth Eide" userId="4c2032d3-c297-445d-a36e-66896227502f" providerId="ADAL" clId="{C74CCDFD-7109-485F-A9EB-5A62319051BA}" dt="2022-09-21T09:42:47.099" v="30410" actId="20577"/>
          <ac:spMkLst>
            <pc:docMk/>
            <pc:sldMk cId="3295221613" sldId="290"/>
            <ac:spMk id="2" creationId="{DAB15EAB-480C-49A5-9BEE-97E12C7FE151}"/>
          </ac:spMkLst>
        </pc:spChg>
        <pc:spChg chg="mod ord">
          <ac:chgData name="Rachel Elisabeth Eide" userId="4c2032d3-c297-445d-a36e-66896227502f" providerId="ADAL" clId="{C74CCDFD-7109-485F-A9EB-5A62319051BA}" dt="2022-09-21T09:42:39.528" v="30398" actId="700"/>
          <ac:spMkLst>
            <pc:docMk/>
            <pc:sldMk cId="3295221613" sldId="290"/>
            <ac:spMk id="4" creationId="{97205A39-D04B-44C8-974A-857A79A374EF}"/>
          </ac:spMkLst>
        </pc:spChg>
        <pc:picChg chg="mod ord modCrop">
          <ac:chgData name="Rachel Elisabeth Eide" userId="4c2032d3-c297-445d-a36e-66896227502f" providerId="ADAL" clId="{C74CCDFD-7109-485F-A9EB-5A62319051BA}" dt="2022-09-21T09:42:39.528" v="30398" actId="700"/>
          <ac:picMkLst>
            <pc:docMk/>
            <pc:sldMk cId="3295221613" sldId="290"/>
            <ac:picMk id="6" creationId="{C32AE551-F1FA-44F8-B2ED-67C7115161FE}"/>
          </ac:picMkLst>
        </pc:picChg>
      </pc:sldChg>
      <pc:sldChg chg="addSp delSp modSp new mod modClrScheme delCm modCm chgLayout modNotes modNotesTx">
        <pc:chgData name="Rachel Elisabeth Eide" userId="4c2032d3-c297-445d-a36e-66896227502f" providerId="ADAL" clId="{C74CCDFD-7109-485F-A9EB-5A62319051BA}" dt="2022-09-26T07:14:15.198" v="30835" actId="6549"/>
        <pc:sldMkLst>
          <pc:docMk/>
          <pc:sldMk cId="969016687" sldId="291"/>
        </pc:sldMkLst>
        <pc:spChg chg="del mod ord">
          <ac:chgData name="Rachel Elisabeth Eide" userId="4c2032d3-c297-445d-a36e-66896227502f" providerId="ADAL" clId="{C74CCDFD-7109-485F-A9EB-5A62319051BA}" dt="2022-09-20T11:24:49.604" v="23659" actId="700"/>
          <ac:spMkLst>
            <pc:docMk/>
            <pc:sldMk cId="969016687" sldId="291"/>
            <ac:spMk id="2" creationId="{430B0E34-C018-40E7-831F-349F7C9FE9D8}"/>
          </ac:spMkLst>
        </pc:spChg>
        <pc:spChg chg="del">
          <ac:chgData name="Rachel Elisabeth Eide" userId="4c2032d3-c297-445d-a36e-66896227502f" providerId="ADAL" clId="{C74CCDFD-7109-485F-A9EB-5A62319051BA}" dt="2022-09-20T11:24:49.604" v="23659" actId="700"/>
          <ac:spMkLst>
            <pc:docMk/>
            <pc:sldMk cId="969016687" sldId="291"/>
            <ac:spMk id="3" creationId="{55871C42-EE18-4EFD-BA61-1DEC166EED0A}"/>
          </ac:spMkLst>
        </pc:spChg>
        <pc:spChg chg="mod ord">
          <ac:chgData name="Rachel Elisabeth Eide" userId="4c2032d3-c297-445d-a36e-66896227502f" providerId="ADAL" clId="{C74CCDFD-7109-485F-A9EB-5A62319051BA}" dt="2022-09-20T19:41:43.425" v="27927" actId="700"/>
          <ac:spMkLst>
            <pc:docMk/>
            <pc:sldMk cId="969016687" sldId="291"/>
            <ac:spMk id="4" creationId="{7DC4DCA4-4C96-4DFA-9CEC-A94704DFC97E}"/>
          </ac:spMkLst>
        </pc:spChg>
        <pc:spChg chg="add del mod ord">
          <ac:chgData name="Rachel Elisabeth Eide" userId="4c2032d3-c297-445d-a36e-66896227502f" providerId="ADAL" clId="{C74CCDFD-7109-485F-A9EB-5A62319051BA}" dt="2022-09-20T19:41:43.425" v="27927" actId="700"/>
          <ac:spMkLst>
            <pc:docMk/>
            <pc:sldMk cId="969016687" sldId="291"/>
            <ac:spMk id="5" creationId="{7CBE27AF-A07B-4535-A159-FCC42A9B9D84}"/>
          </ac:spMkLst>
        </pc:spChg>
        <pc:spChg chg="add del mod ord">
          <ac:chgData name="Rachel Elisabeth Eide" userId="4c2032d3-c297-445d-a36e-66896227502f" providerId="ADAL" clId="{C74CCDFD-7109-485F-A9EB-5A62319051BA}" dt="2022-09-20T11:51:34.387" v="23670" actId="931"/>
          <ac:spMkLst>
            <pc:docMk/>
            <pc:sldMk cId="969016687" sldId="291"/>
            <ac:spMk id="6" creationId="{095C1718-9DA8-4E79-AC04-5ED54B4BCFD6}"/>
          </ac:spMkLst>
        </pc:spChg>
        <pc:picChg chg="add mod ord modCrop">
          <ac:chgData name="Rachel Elisabeth Eide" userId="4c2032d3-c297-445d-a36e-66896227502f" providerId="ADAL" clId="{C74CCDFD-7109-485F-A9EB-5A62319051BA}" dt="2022-09-20T19:41:43.425" v="27927" actId="700"/>
          <ac:picMkLst>
            <pc:docMk/>
            <pc:sldMk cId="969016687" sldId="291"/>
            <ac:picMk id="3" creationId="{25829DCD-F2E1-451D-B1B3-2EC6BC715ECC}"/>
          </ac:picMkLst>
        </pc:picChg>
      </pc:sldChg>
      <pc:sldChg chg="addSp delSp modSp new mod ord modClrScheme addCm delCm modCm chgLayout modNotesTx">
        <pc:chgData name="Rachel Elisabeth Eide" userId="4c2032d3-c297-445d-a36e-66896227502f" providerId="ADAL" clId="{C74CCDFD-7109-485F-A9EB-5A62319051BA}" dt="2022-09-26T07:14:30.961" v="30838" actId="6549"/>
        <pc:sldMkLst>
          <pc:docMk/>
          <pc:sldMk cId="848880958" sldId="292"/>
        </pc:sldMkLst>
        <pc:spChg chg="mod ord">
          <ac:chgData name="Rachel Elisabeth Eide" userId="4c2032d3-c297-445d-a36e-66896227502f" providerId="ADAL" clId="{C74CCDFD-7109-485F-A9EB-5A62319051BA}" dt="2022-09-20T12:15:20.430" v="24029" actId="700"/>
          <ac:spMkLst>
            <pc:docMk/>
            <pc:sldMk cId="848880958" sldId="292"/>
            <ac:spMk id="2" creationId="{0A3DFA96-9965-4549-AE67-2B273E039589}"/>
          </ac:spMkLst>
        </pc:spChg>
        <pc:spChg chg="del">
          <ac:chgData name="Rachel Elisabeth Eide" userId="4c2032d3-c297-445d-a36e-66896227502f" providerId="ADAL" clId="{C74CCDFD-7109-485F-A9EB-5A62319051BA}" dt="2022-09-20T11:58:22.036" v="23830" actId="931"/>
          <ac:spMkLst>
            <pc:docMk/>
            <pc:sldMk cId="848880958" sldId="292"/>
            <ac:spMk id="3" creationId="{8EDFC2FB-0961-4257-8E49-DA8834324A18}"/>
          </ac:spMkLst>
        </pc:spChg>
        <pc:spChg chg="add del mod">
          <ac:chgData name="Rachel Elisabeth Eide" userId="4c2032d3-c297-445d-a36e-66896227502f" providerId="ADAL" clId="{C74CCDFD-7109-485F-A9EB-5A62319051BA}" dt="2022-09-20T11:59:47.211" v="23840" actId="26606"/>
          <ac:spMkLst>
            <pc:docMk/>
            <pc:sldMk cId="848880958" sldId="292"/>
            <ac:spMk id="10" creationId="{36B39409-411E-74CE-17AC-87F13EE90178}"/>
          </ac:spMkLst>
        </pc:spChg>
        <pc:spChg chg="add del mod">
          <ac:chgData name="Rachel Elisabeth Eide" userId="4c2032d3-c297-445d-a36e-66896227502f" providerId="ADAL" clId="{C74CCDFD-7109-485F-A9EB-5A62319051BA}" dt="2022-09-20T12:16:44.265" v="24042" actId="1076"/>
          <ac:spMkLst>
            <pc:docMk/>
            <pc:sldMk cId="848880958" sldId="292"/>
            <ac:spMk id="11" creationId="{946A462B-6BA8-4952-ABC4-3791843B8AAC}"/>
          </ac:spMkLst>
        </pc:spChg>
        <pc:spChg chg="add del mod">
          <ac:chgData name="Rachel Elisabeth Eide" userId="4c2032d3-c297-445d-a36e-66896227502f" providerId="ADAL" clId="{C74CCDFD-7109-485F-A9EB-5A62319051BA}" dt="2022-09-20T11:59:44.210" v="23839" actId="931"/>
          <ac:spMkLst>
            <pc:docMk/>
            <pc:sldMk cId="848880958" sldId="292"/>
            <ac:spMk id="12" creationId="{C9FED8F4-236D-3D1A-0C5E-948621A44B6A}"/>
          </ac:spMkLst>
        </pc:spChg>
        <pc:spChg chg="add mod">
          <ac:chgData name="Rachel Elisabeth Eide" userId="4c2032d3-c297-445d-a36e-66896227502f" providerId="ADAL" clId="{C74CCDFD-7109-485F-A9EB-5A62319051BA}" dt="2022-09-20T12:16:50.610" v="24043" actId="1076"/>
          <ac:spMkLst>
            <pc:docMk/>
            <pc:sldMk cId="848880958" sldId="292"/>
            <ac:spMk id="14" creationId="{EE4309F1-7550-455D-B447-7888B6DD8B0C}"/>
          </ac:spMkLst>
        </pc:spChg>
        <pc:spChg chg="add mod ord">
          <ac:chgData name="Rachel Elisabeth Eide" userId="4c2032d3-c297-445d-a36e-66896227502f" providerId="ADAL" clId="{C74CCDFD-7109-485F-A9EB-5A62319051BA}" dt="2022-09-20T12:15:20.430" v="24029" actId="700"/>
          <ac:spMkLst>
            <pc:docMk/>
            <pc:sldMk cId="848880958" sldId="292"/>
            <ac:spMk id="15" creationId="{C73B8DE9-5A3B-D2A9-A427-6AA83BD9F128}"/>
          </ac:spMkLst>
        </pc:spChg>
        <pc:spChg chg="add del">
          <ac:chgData name="Rachel Elisabeth Eide" userId="4c2032d3-c297-445d-a36e-66896227502f" providerId="ADAL" clId="{C74CCDFD-7109-485F-A9EB-5A62319051BA}" dt="2022-09-20T12:02:03.875" v="23857" actId="22"/>
          <ac:spMkLst>
            <pc:docMk/>
            <pc:sldMk cId="848880958" sldId="292"/>
            <ac:spMk id="16" creationId="{9622798E-E91D-4B8E-BCA4-D2DA40E30A9F}"/>
          </ac:spMkLst>
        </pc:spChg>
        <pc:spChg chg="add mod">
          <ac:chgData name="Rachel Elisabeth Eide" userId="4c2032d3-c297-445d-a36e-66896227502f" providerId="ADAL" clId="{C74CCDFD-7109-485F-A9EB-5A62319051BA}" dt="2022-09-20T12:16:35.178" v="24040" actId="1076"/>
          <ac:spMkLst>
            <pc:docMk/>
            <pc:sldMk cId="848880958" sldId="292"/>
            <ac:spMk id="17" creationId="{1ED58E51-75AE-4E28-AB68-3684B7A5C2FE}"/>
          </ac:spMkLst>
        </pc:spChg>
        <pc:spChg chg="add del mod">
          <ac:chgData name="Rachel Elisabeth Eide" userId="4c2032d3-c297-445d-a36e-66896227502f" providerId="ADAL" clId="{C74CCDFD-7109-485F-A9EB-5A62319051BA}" dt="2022-09-20T12:15:05.158" v="24027" actId="700"/>
          <ac:spMkLst>
            <pc:docMk/>
            <pc:sldMk cId="848880958" sldId="292"/>
            <ac:spMk id="21" creationId="{BB02CD4A-252F-489C-8B45-19DA74E6C182}"/>
          </ac:spMkLst>
        </pc:spChg>
        <pc:picChg chg="add mod ord">
          <ac:chgData name="Rachel Elisabeth Eide" userId="4c2032d3-c297-445d-a36e-66896227502f" providerId="ADAL" clId="{C74CCDFD-7109-485F-A9EB-5A62319051BA}" dt="2022-09-20T12:15:41.369" v="24037" actId="14100"/>
          <ac:picMkLst>
            <pc:docMk/>
            <pc:sldMk cId="848880958" sldId="292"/>
            <ac:picMk id="5" creationId="{744C74CB-486C-4178-83E0-15502EFBD1A5}"/>
          </ac:picMkLst>
        </pc:picChg>
        <pc:picChg chg="add del mod">
          <ac:chgData name="Rachel Elisabeth Eide" userId="4c2032d3-c297-445d-a36e-66896227502f" providerId="ADAL" clId="{C74CCDFD-7109-485F-A9EB-5A62319051BA}" dt="2022-09-20T12:13:47.442" v="24014" actId="478"/>
          <ac:picMkLst>
            <pc:docMk/>
            <pc:sldMk cId="848880958" sldId="292"/>
            <ac:picMk id="7" creationId="{F77B96D9-45F2-4A62-BC30-221440821A47}"/>
          </ac:picMkLst>
        </pc:picChg>
        <pc:picChg chg="add mod">
          <ac:chgData name="Rachel Elisabeth Eide" userId="4c2032d3-c297-445d-a36e-66896227502f" providerId="ADAL" clId="{C74CCDFD-7109-485F-A9EB-5A62319051BA}" dt="2022-09-20T12:16:39.170" v="24041" actId="1076"/>
          <ac:picMkLst>
            <pc:docMk/>
            <pc:sldMk cId="848880958" sldId="292"/>
            <ac:picMk id="9" creationId="{CC757677-1052-46E3-BD08-1E55286A9C03}"/>
          </ac:picMkLst>
        </pc:picChg>
        <pc:picChg chg="add mod">
          <ac:chgData name="Rachel Elisabeth Eide" userId="4c2032d3-c297-445d-a36e-66896227502f" providerId="ADAL" clId="{C74CCDFD-7109-485F-A9EB-5A62319051BA}" dt="2022-09-20T12:15:58.888" v="24039" actId="207"/>
          <ac:picMkLst>
            <pc:docMk/>
            <pc:sldMk cId="848880958" sldId="292"/>
            <ac:picMk id="19" creationId="{BF75DB80-881B-4378-A02F-2D2C28ABCB9C}"/>
          </ac:picMkLst>
        </pc:picChg>
      </pc:sldChg>
      <pc:sldChg chg="add del modNotes modNotesTx">
        <pc:chgData name="Rachel Elisabeth Eide" userId="4c2032d3-c297-445d-a36e-66896227502f" providerId="ADAL" clId="{C74CCDFD-7109-485F-A9EB-5A62319051BA}" dt="2022-09-20T19:45:10.473" v="27933" actId="47"/>
        <pc:sldMkLst>
          <pc:docMk/>
          <pc:sldMk cId="1513938673" sldId="293"/>
        </pc:sldMkLst>
      </pc:sldChg>
      <pc:sldChg chg="add del mod modShow">
        <pc:chgData name="Rachel Elisabeth Eide" userId="4c2032d3-c297-445d-a36e-66896227502f" providerId="ADAL" clId="{C74CCDFD-7109-485F-A9EB-5A62319051BA}" dt="2022-09-20T19:40:02.698" v="27915" actId="47"/>
        <pc:sldMkLst>
          <pc:docMk/>
          <pc:sldMk cId="2423105081" sldId="294"/>
        </pc:sldMkLst>
      </pc:sldChg>
      <pc:sldChg chg="addSp delSp modSp add mod ord modClrScheme chgLayout modNotes modNotesTx">
        <pc:chgData name="Rachel Elisabeth Eide" userId="4c2032d3-c297-445d-a36e-66896227502f" providerId="ADAL" clId="{C74CCDFD-7109-485F-A9EB-5A62319051BA}" dt="2022-09-26T07:14:55.898" v="30845" actId="6549"/>
        <pc:sldMkLst>
          <pc:docMk/>
          <pc:sldMk cId="1257100697" sldId="295"/>
        </pc:sldMkLst>
        <pc:spChg chg="mod">
          <ac:chgData name="Rachel Elisabeth Eide" userId="4c2032d3-c297-445d-a36e-66896227502f" providerId="ADAL" clId="{C74CCDFD-7109-485F-A9EB-5A62319051BA}" dt="2022-09-21T09:38:53.207" v="30380" actId="26606"/>
          <ac:spMkLst>
            <pc:docMk/>
            <pc:sldMk cId="1257100697" sldId="295"/>
            <ac:spMk id="4" creationId="{F1FE46B1-E89C-4559-B57E-A81791DCA169}"/>
          </ac:spMkLst>
        </pc:spChg>
        <pc:spChg chg="add del mod">
          <ac:chgData name="Rachel Elisabeth Eide" userId="4c2032d3-c297-445d-a36e-66896227502f" providerId="ADAL" clId="{C74CCDFD-7109-485F-A9EB-5A62319051BA}" dt="2022-09-21T09:37:39.162" v="30358" actId="478"/>
          <ac:spMkLst>
            <pc:docMk/>
            <pc:sldMk cId="1257100697" sldId="295"/>
            <ac:spMk id="9" creationId="{30D9B398-6145-43EA-885E-605BEBBB0105}"/>
          </ac:spMkLst>
        </pc:spChg>
        <pc:spChg chg="mod">
          <ac:chgData name="Rachel Elisabeth Eide" userId="4c2032d3-c297-445d-a36e-66896227502f" providerId="ADAL" clId="{C74CCDFD-7109-485F-A9EB-5A62319051BA}" dt="2022-09-21T09:38:53.207" v="30380" actId="26606"/>
          <ac:spMkLst>
            <pc:docMk/>
            <pc:sldMk cId="1257100697" sldId="295"/>
            <ac:spMk id="22" creationId="{211DC0DC-F7D4-F9D2-B1C0-CE9D40356F5D}"/>
          </ac:spMkLst>
        </pc:spChg>
        <pc:spChg chg="mod ord">
          <ac:chgData name="Rachel Elisabeth Eide" userId="4c2032d3-c297-445d-a36e-66896227502f" providerId="ADAL" clId="{C74CCDFD-7109-485F-A9EB-5A62319051BA}" dt="2022-09-21T09:38:53.207" v="30380" actId="26606"/>
          <ac:spMkLst>
            <pc:docMk/>
            <pc:sldMk cId="1257100697" sldId="295"/>
            <ac:spMk id="23" creationId="{C4676D6C-4B0A-9C8E-8861-A6A4A2AC0CB7}"/>
          </ac:spMkLst>
        </pc:spChg>
        <pc:picChg chg="del mod">
          <ac:chgData name="Rachel Elisabeth Eide" userId="4c2032d3-c297-445d-a36e-66896227502f" providerId="ADAL" clId="{C74CCDFD-7109-485F-A9EB-5A62319051BA}" dt="2022-09-21T09:37:27.173" v="30356" actId="478"/>
          <ac:picMkLst>
            <pc:docMk/>
            <pc:sldMk cId="1257100697" sldId="295"/>
            <ac:picMk id="6" creationId="{5963E5B8-9097-4C11-A98D-B59B09A860E3}"/>
          </ac:picMkLst>
        </pc:picChg>
        <pc:picChg chg="add del mod">
          <ac:chgData name="Rachel Elisabeth Eide" userId="4c2032d3-c297-445d-a36e-66896227502f" providerId="ADAL" clId="{C74CCDFD-7109-485F-A9EB-5A62319051BA}" dt="2022-09-21T09:37:32.067" v="30357" actId="478"/>
          <ac:picMkLst>
            <pc:docMk/>
            <pc:sldMk cId="1257100697" sldId="295"/>
            <ac:picMk id="7" creationId="{8426B920-5D4E-4AA7-B355-C800D2C93BB8}"/>
          </ac:picMkLst>
        </pc:picChg>
        <pc:picChg chg="add mod">
          <ac:chgData name="Rachel Elisabeth Eide" userId="4c2032d3-c297-445d-a36e-66896227502f" providerId="ADAL" clId="{C74CCDFD-7109-485F-A9EB-5A62319051BA}" dt="2022-09-21T09:39:37.874" v="30382" actId="207"/>
          <ac:picMkLst>
            <pc:docMk/>
            <pc:sldMk cId="1257100697" sldId="295"/>
            <ac:picMk id="12" creationId="{41536BB0-7183-427C-9A03-B5C35AD2DD0D}"/>
          </ac:picMkLst>
        </pc:picChg>
      </pc:sldChg>
      <pc:sldChg chg="addSp delSp modSp new mod modClrScheme modCm chgLayout modNotesTx">
        <pc:chgData name="Rachel Elisabeth Eide" userId="4c2032d3-c297-445d-a36e-66896227502f" providerId="ADAL" clId="{C74CCDFD-7109-485F-A9EB-5A62319051BA}" dt="2022-09-26T07:14:52.559" v="30844" actId="6549"/>
        <pc:sldMkLst>
          <pc:docMk/>
          <pc:sldMk cId="4238787944" sldId="296"/>
        </pc:sldMkLst>
        <pc:spChg chg="mod ord">
          <ac:chgData name="Rachel Elisabeth Eide" userId="4c2032d3-c297-445d-a36e-66896227502f" providerId="ADAL" clId="{C74CCDFD-7109-485F-A9EB-5A62319051BA}" dt="2022-09-20T19:06:09.329" v="27725" actId="26606"/>
          <ac:spMkLst>
            <pc:docMk/>
            <pc:sldMk cId="4238787944" sldId="296"/>
            <ac:spMk id="2" creationId="{400BD14C-C51B-4DA7-90C1-E27350D5277D}"/>
          </ac:spMkLst>
        </pc:spChg>
        <pc:spChg chg="mod ord">
          <ac:chgData name="Rachel Elisabeth Eide" userId="4c2032d3-c297-445d-a36e-66896227502f" providerId="ADAL" clId="{C74CCDFD-7109-485F-A9EB-5A62319051BA}" dt="2022-09-20T19:06:09.329" v="27725" actId="26606"/>
          <ac:spMkLst>
            <pc:docMk/>
            <pc:sldMk cId="4238787944" sldId="296"/>
            <ac:spMk id="3" creationId="{87895B91-E512-452B-A942-F4C713C7208A}"/>
          </ac:spMkLst>
        </pc:spChg>
        <pc:spChg chg="del mod ord">
          <ac:chgData name="Rachel Elisabeth Eide" userId="4c2032d3-c297-445d-a36e-66896227502f" providerId="ADAL" clId="{C74CCDFD-7109-485F-A9EB-5A62319051BA}" dt="2022-09-20T19:05:31.232" v="27722" actId="700"/>
          <ac:spMkLst>
            <pc:docMk/>
            <pc:sldMk cId="4238787944" sldId="296"/>
            <ac:spMk id="4" creationId="{9022EAFD-57C2-4691-99A1-15FB96D32546}"/>
          </ac:spMkLst>
        </pc:spChg>
        <pc:spChg chg="del">
          <ac:chgData name="Rachel Elisabeth Eide" userId="4c2032d3-c297-445d-a36e-66896227502f" providerId="ADAL" clId="{C74CCDFD-7109-485F-A9EB-5A62319051BA}" dt="2022-09-20T19:05:31.232" v="27722" actId="700"/>
          <ac:spMkLst>
            <pc:docMk/>
            <pc:sldMk cId="4238787944" sldId="296"/>
            <ac:spMk id="5" creationId="{D01F7A86-2A8A-4215-BD05-B6FC572CB07B}"/>
          </ac:spMkLst>
        </pc:spChg>
        <pc:spChg chg="add del mod ord">
          <ac:chgData name="Rachel Elisabeth Eide" userId="4c2032d3-c297-445d-a36e-66896227502f" providerId="ADAL" clId="{C74CCDFD-7109-485F-A9EB-5A62319051BA}" dt="2022-09-20T19:06:06.388" v="27723"/>
          <ac:spMkLst>
            <pc:docMk/>
            <pc:sldMk cId="4238787944" sldId="296"/>
            <ac:spMk id="6" creationId="{D0C8C5E5-A774-4D4F-B993-0A862E8F9CDF}"/>
          </ac:spMkLst>
        </pc:spChg>
        <pc:spChg chg="add del mod">
          <ac:chgData name="Rachel Elisabeth Eide" userId="4c2032d3-c297-445d-a36e-66896227502f" providerId="ADAL" clId="{C74CCDFD-7109-485F-A9EB-5A62319051BA}" dt="2022-09-20T19:06:48.759" v="27726" actId="931"/>
          <ac:spMkLst>
            <pc:docMk/>
            <pc:sldMk cId="4238787944" sldId="296"/>
            <ac:spMk id="12" creationId="{D4775172-CA61-CAFF-5CA2-3E06F1AC6B4F}"/>
          </ac:spMkLst>
        </pc:spChg>
        <pc:spChg chg="add del mod">
          <ac:chgData name="Rachel Elisabeth Eide" userId="4c2032d3-c297-445d-a36e-66896227502f" providerId="ADAL" clId="{C74CCDFD-7109-485F-A9EB-5A62319051BA}" dt="2022-09-20T19:11:48.944" v="27734" actId="931"/>
          <ac:spMkLst>
            <pc:docMk/>
            <pc:sldMk cId="4238787944" sldId="296"/>
            <ac:spMk id="16" creationId="{98AF5099-FE76-4BAC-B5FC-CBF27154811A}"/>
          </ac:spMkLst>
        </pc:spChg>
        <pc:spChg chg="add del mod">
          <ac:chgData name="Rachel Elisabeth Eide" userId="4c2032d3-c297-445d-a36e-66896227502f" providerId="ADAL" clId="{C74CCDFD-7109-485F-A9EB-5A62319051BA}" dt="2022-09-20T19:13:49.981" v="27755" actId="931"/>
          <ac:spMkLst>
            <pc:docMk/>
            <pc:sldMk cId="4238787944" sldId="296"/>
            <ac:spMk id="20" creationId="{D9847490-34DF-4C99-8857-C7ECF1AD7B11}"/>
          </ac:spMkLst>
        </pc:spChg>
        <pc:spChg chg="add del mod">
          <ac:chgData name="Rachel Elisabeth Eide" userId="4c2032d3-c297-445d-a36e-66896227502f" providerId="ADAL" clId="{C74CCDFD-7109-485F-A9EB-5A62319051BA}" dt="2022-09-21T09:25:50.286" v="30100"/>
          <ac:spMkLst>
            <pc:docMk/>
            <pc:sldMk cId="4238787944" sldId="296"/>
            <ac:spMk id="23" creationId="{0B9533EC-8B45-499C-A37D-D2185FB427FB}"/>
          </ac:spMkLst>
        </pc:spChg>
        <pc:spChg chg="add mod">
          <ac:chgData name="Rachel Elisabeth Eide" userId="4c2032d3-c297-445d-a36e-66896227502f" providerId="ADAL" clId="{C74CCDFD-7109-485F-A9EB-5A62319051BA}" dt="2022-09-21T09:29:49.662" v="30176" actId="1076"/>
          <ac:spMkLst>
            <pc:docMk/>
            <pc:sldMk cId="4238787944" sldId="296"/>
            <ac:spMk id="24" creationId="{F6F9D3C6-69E0-4148-9C56-B59355F98467}"/>
          </ac:spMkLst>
        </pc:spChg>
        <pc:spChg chg="add del mod">
          <ac:chgData name="Rachel Elisabeth Eide" userId="4c2032d3-c297-445d-a36e-66896227502f" providerId="ADAL" clId="{C74CCDFD-7109-485F-A9EB-5A62319051BA}" dt="2022-09-21T09:26:29.067" v="30117"/>
          <ac:spMkLst>
            <pc:docMk/>
            <pc:sldMk cId="4238787944" sldId="296"/>
            <ac:spMk id="25" creationId="{3BE0C9F0-0B87-4FB0-BF84-6ADE484B3D5B}"/>
          </ac:spMkLst>
        </pc:spChg>
        <pc:spChg chg="add mod">
          <ac:chgData name="Rachel Elisabeth Eide" userId="4c2032d3-c297-445d-a36e-66896227502f" providerId="ADAL" clId="{C74CCDFD-7109-485F-A9EB-5A62319051BA}" dt="2022-09-21T09:30:03.430" v="30177" actId="1076"/>
          <ac:spMkLst>
            <pc:docMk/>
            <pc:sldMk cId="4238787944" sldId="296"/>
            <ac:spMk id="26" creationId="{463EC9DE-133F-4454-B148-172E0CB8FCBE}"/>
          </ac:spMkLst>
        </pc:spChg>
        <pc:spChg chg="add mod">
          <ac:chgData name="Rachel Elisabeth Eide" userId="4c2032d3-c297-445d-a36e-66896227502f" providerId="ADAL" clId="{C74CCDFD-7109-485F-A9EB-5A62319051BA}" dt="2022-09-21T09:28:44.805" v="30173" actId="14100"/>
          <ac:spMkLst>
            <pc:docMk/>
            <pc:sldMk cId="4238787944" sldId="296"/>
            <ac:spMk id="27" creationId="{F034840B-336C-49FC-A77B-F122F03C11A4}"/>
          </ac:spMkLst>
        </pc:spChg>
        <pc:picChg chg="add del mod">
          <ac:chgData name="Rachel Elisabeth Eide" userId="4c2032d3-c297-445d-a36e-66896227502f" providerId="ADAL" clId="{C74CCDFD-7109-485F-A9EB-5A62319051BA}" dt="2022-09-20T19:10:57.436" v="27733" actId="478"/>
          <ac:picMkLst>
            <pc:docMk/>
            <pc:sldMk cId="4238787944" sldId="296"/>
            <ac:picMk id="7" creationId="{4D057FB5-28F4-4172-96CF-AF51673F6FF7}"/>
          </ac:picMkLst>
        </pc:picChg>
        <pc:picChg chg="add del mod">
          <ac:chgData name="Rachel Elisabeth Eide" userId="4c2032d3-c297-445d-a36e-66896227502f" providerId="ADAL" clId="{C74CCDFD-7109-485F-A9EB-5A62319051BA}" dt="2022-09-20T19:13:37.874" v="27754" actId="478"/>
          <ac:picMkLst>
            <pc:docMk/>
            <pc:sldMk cId="4238787944" sldId="296"/>
            <ac:picMk id="9" creationId="{FF4DB311-41B3-470E-8500-EBE6226F0BE2}"/>
          </ac:picMkLst>
        </pc:picChg>
        <pc:picChg chg="add del mod">
          <ac:chgData name="Rachel Elisabeth Eide" userId="4c2032d3-c297-445d-a36e-66896227502f" providerId="ADAL" clId="{C74CCDFD-7109-485F-A9EB-5A62319051BA}" dt="2022-09-20T19:07:57.200" v="27731" actId="478"/>
          <ac:picMkLst>
            <pc:docMk/>
            <pc:sldMk cId="4238787944" sldId="296"/>
            <ac:picMk id="11" creationId="{2EF434F8-2009-47E7-93C5-4E1F6DCF659C}"/>
          </ac:picMkLst>
        </pc:picChg>
        <pc:picChg chg="add mod">
          <ac:chgData name="Rachel Elisabeth Eide" userId="4c2032d3-c297-445d-a36e-66896227502f" providerId="ADAL" clId="{C74CCDFD-7109-485F-A9EB-5A62319051BA}" dt="2022-09-20T19:17:55.015" v="27762" actId="207"/>
          <ac:picMkLst>
            <pc:docMk/>
            <pc:sldMk cId="4238787944" sldId="296"/>
            <ac:picMk id="14" creationId="{78986FC7-A1CD-4215-88CA-9D3150DD64CE}"/>
          </ac:picMkLst>
        </pc:picChg>
        <pc:picChg chg="add mod">
          <ac:chgData name="Rachel Elisabeth Eide" userId="4c2032d3-c297-445d-a36e-66896227502f" providerId="ADAL" clId="{C74CCDFD-7109-485F-A9EB-5A62319051BA}" dt="2022-09-20T19:19:29.534" v="27844" actId="1076"/>
          <ac:picMkLst>
            <pc:docMk/>
            <pc:sldMk cId="4238787944" sldId="296"/>
            <ac:picMk id="18" creationId="{6CBC1E63-12F1-43E9-ABD7-A616796625F5}"/>
          </ac:picMkLst>
        </pc:picChg>
        <pc:picChg chg="add mod">
          <ac:chgData name="Rachel Elisabeth Eide" userId="4c2032d3-c297-445d-a36e-66896227502f" providerId="ADAL" clId="{C74CCDFD-7109-485F-A9EB-5A62319051BA}" dt="2022-09-20T19:19:23.009" v="27843" actId="1076"/>
          <ac:picMkLst>
            <pc:docMk/>
            <pc:sldMk cId="4238787944" sldId="296"/>
            <ac:picMk id="22" creationId="{C983F489-54E2-45B9-9DA6-18787CF033A6}"/>
          </ac:picMkLst>
        </pc:picChg>
      </pc:sldChg>
      <pc:sldChg chg="modSp mod delCm modCm modNotesTx">
        <pc:chgData name="Rachel Elisabeth Eide" userId="4c2032d3-c297-445d-a36e-66896227502f" providerId="ADAL" clId="{C74CCDFD-7109-485F-A9EB-5A62319051BA}" dt="2022-09-26T07:14:46.237" v="30842" actId="6549"/>
        <pc:sldMkLst>
          <pc:docMk/>
          <pc:sldMk cId="2984738546" sldId="298"/>
        </pc:sldMkLst>
        <pc:spChg chg="mod">
          <ac:chgData name="Rachel Elisabeth Eide" userId="4c2032d3-c297-445d-a36e-66896227502f" providerId="ADAL" clId="{C74CCDFD-7109-485F-A9EB-5A62319051BA}" dt="2022-09-21T11:19:58.167" v="30724" actId="790"/>
          <ac:spMkLst>
            <pc:docMk/>
            <pc:sldMk cId="2984738546" sldId="298"/>
            <ac:spMk id="22" creationId="{211DC0DC-F7D4-F9D2-B1C0-CE9D40356F5D}"/>
          </ac:spMkLst>
        </pc:spChg>
        <pc:spChg chg="mod">
          <ac:chgData name="Rachel Elisabeth Eide" userId="4c2032d3-c297-445d-a36e-66896227502f" providerId="ADAL" clId="{C74CCDFD-7109-485F-A9EB-5A62319051BA}" dt="2022-09-21T11:20:14.063" v="30725" actId="790"/>
          <ac:spMkLst>
            <pc:docMk/>
            <pc:sldMk cId="2984738546" sldId="298"/>
            <ac:spMk id="23" creationId="{C4676D6C-4B0A-9C8E-8861-A6A4A2AC0CB7}"/>
          </ac:spMkLst>
        </pc:spChg>
      </pc:sldChg>
      <pc:sldChg chg="addSp delSp modSp add del mod modClrScheme addCm chgLayout modNotesTx">
        <pc:chgData name="Rachel Elisabeth Eide" userId="4c2032d3-c297-445d-a36e-66896227502f" providerId="ADAL" clId="{C74CCDFD-7109-485F-A9EB-5A62319051BA}" dt="2022-09-21T13:42:21.596" v="30809" actId="47"/>
        <pc:sldMkLst>
          <pc:docMk/>
          <pc:sldMk cId="2423102942" sldId="299"/>
        </pc:sldMkLst>
        <pc:spChg chg="mod ord">
          <ac:chgData name="Rachel Elisabeth Eide" userId="4c2032d3-c297-445d-a36e-66896227502f" providerId="ADAL" clId="{C74CCDFD-7109-485F-A9EB-5A62319051BA}" dt="2022-09-21T11:10:05.036" v="30614" actId="700"/>
          <ac:spMkLst>
            <pc:docMk/>
            <pc:sldMk cId="2423102942" sldId="299"/>
            <ac:spMk id="2" creationId="{4CC425C6-8A99-4765-A6AF-D1AAB7FFB1E6}"/>
          </ac:spMkLst>
        </pc:spChg>
        <pc:spChg chg="mod ord">
          <ac:chgData name="Rachel Elisabeth Eide" userId="4c2032d3-c297-445d-a36e-66896227502f" providerId="ADAL" clId="{C74CCDFD-7109-485F-A9EB-5A62319051BA}" dt="2022-09-21T11:10:05.036" v="30614" actId="700"/>
          <ac:spMkLst>
            <pc:docMk/>
            <pc:sldMk cId="2423102942" sldId="299"/>
            <ac:spMk id="3" creationId="{E16BBEB8-EDAF-40F5-A88C-2BCE4505548A}"/>
          </ac:spMkLst>
        </pc:spChg>
        <pc:spChg chg="add del mod">
          <ac:chgData name="Rachel Elisabeth Eide" userId="4c2032d3-c297-445d-a36e-66896227502f" providerId="ADAL" clId="{C74CCDFD-7109-485F-A9EB-5A62319051BA}" dt="2022-09-21T11:10:30.908" v="30622" actId="478"/>
          <ac:spMkLst>
            <pc:docMk/>
            <pc:sldMk cId="2423102942" sldId="299"/>
            <ac:spMk id="5" creationId="{4698E47B-8F61-47A9-B211-D2637CB19664}"/>
          </ac:spMkLst>
        </pc:spChg>
        <pc:spChg chg="del mod ord">
          <ac:chgData name="Rachel Elisabeth Eide" userId="4c2032d3-c297-445d-a36e-66896227502f" providerId="ADAL" clId="{C74CCDFD-7109-485F-A9EB-5A62319051BA}" dt="2022-09-21T11:10:23.933" v="30620" actId="478"/>
          <ac:spMkLst>
            <pc:docMk/>
            <pc:sldMk cId="2423102942" sldId="299"/>
            <ac:spMk id="9" creationId="{AF018143-5E60-8FA0-212A-271F2633196A}"/>
          </ac:spMkLst>
        </pc:spChg>
        <pc:spChg chg="add del mod">
          <ac:chgData name="Rachel Elisabeth Eide" userId="4c2032d3-c297-445d-a36e-66896227502f" providerId="ADAL" clId="{C74CCDFD-7109-485F-A9EB-5A62319051BA}" dt="2022-09-21T11:10:34.596" v="30623" actId="478"/>
          <ac:spMkLst>
            <pc:docMk/>
            <pc:sldMk cId="2423102942" sldId="299"/>
            <ac:spMk id="10" creationId="{DF172FDF-7DCC-4B96-9EF8-BC838530D04B}"/>
          </ac:spMkLst>
        </pc:spChg>
        <pc:spChg chg="add mod">
          <ac:chgData name="Rachel Elisabeth Eide" userId="4c2032d3-c297-445d-a36e-66896227502f" providerId="ADAL" clId="{C74CCDFD-7109-485F-A9EB-5A62319051BA}" dt="2022-09-21T11:13:13.147" v="30701" actId="1076"/>
          <ac:spMkLst>
            <pc:docMk/>
            <pc:sldMk cId="2423102942" sldId="299"/>
            <ac:spMk id="11" creationId="{4FA8CBEE-2004-46AD-B4BD-D41B644413D7}"/>
          </ac:spMkLst>
        </pc:spChg>
        <pc:spChg chg="add mod">
          <ac:chgData name="Rachel Elisabeth Eide" userId="4c2032d3-c297-445d-a36e-66896227502f" providerId="ADAL" clId="{C74CCDFD-7109-485F-A9EB-5A62319051BA}" dt="2022-09-21T11:14:56.078" v="30713" actId="6549"/>
          <ac:spMkLst>
            <pc:docMk/>
            <pc:sldMk cId="2423102942" sldId="299"/>
            <ac:spMk id="12" creationId="{14E444E4-D60B-44CF-890F-3BE12FD39E9E}"/>
          </ac:spMkLst>
        </pc:spChg>
        <pc:spChg chg="add mod">
          <ac:chgData name="Rachel Elisabeth Eide" userId="4c2032d3-c297-445d-a36e-66896227502f" providerId="ADAL" clId="{C74CCDFD-7109-485F-A9EB-5A62319051BA}" dt="2022-09-21T11:13:13.147" v="30701" actId="1076"/>
          <ac:spMkLst>
            <pc:docMk/>
            <pc:sldMk cId="2423102942" sldId="299"/>
            <ac:spMk id="13" creationId="{A4FDC151-F1DF-46DB-8614-05142BA1E259}"/>
          </ac:spMkLst>
        </pc:spChg>
        <pc:picChg chg="del mod ord">
          <ac:chgData name="Rachel Elisabeth Eide" userId="4c2032d3-c297-445d-a36e-66896227502f" providerId="ADAL" clId="{C74CCDFD-7109-485F-A9EB-5A62319051BA}" dt="2022-09-21T11:10:12.086" v="30615" actId="478"/>
          <ac:picMkLst>
            <pc:docMk/>
            <pc:sldMk cId="2423102942" sldId="299"/>
            <ac:picMk id="6" creationId="{2A1BA45C-C525-4972-9547-E4183BA1761D}"/>
          </ac:picMkLst>
        </pc:picChg>
        <pc:picChg chg="add del mod">
          <ac:chgData name="Rachel Elisabeth Eide" userId="4c2032d3-c297-445d-a36e-66896227502f" providerId="ADAL" clId="{C74CCDFD-7109-485F-A9EB-5A62319051BA}" dt="2022-09-21T11:13:46.708" v="30703" actId="478"/>
          <ac:picMkLst>
            <pc:docMk/>
            <pc:sldMk cId="2423102942" sldId="299"/>
            <ac:picMk id="15" creationId="{6F3F7473-A8AF-4F95-AEFA-38E2E55BDE6A}"/>
          </ac:picMkLst>
        </pc:picChg>
        <pc:picChg chg="add mod">
          <ac:chgData name="Rachel Elisabeth Eide" userId="4c2032d3-c297-445d-a36e-66896227502f" providerId="ADAL" clId="{C74CCDFD-7109-485F-A9EB-5A62319051BA}" dt="2022-09-21T11:18:20.226" v="30721" actId="207"/>
          <ac:picMkLst>
            <pc:docMk/>
            <pc:sldMk cId="2423102942" sldId="299"/>
            <ac:picMk id="17" creationId="{7D4496F9-33DC-4A36-9B64-85CE3D8CD8B0}"/>
          </ac:picMkLst>
        </pc:picChg>
        <pc:picChg chg="add mod">
          <ac:chgData name="Rachel Elisabeth Eide" userId="4c2032d3-c297-445d-a36e-66896227502f" providerId="ADAL" clId="{C74CCDFD-7109-485F-A9EB-5A62319051BA}" dt="2022-09-21T11:18:20.226" v="30721" actId="207"/>
          <ac:picMkLst>
            <pc:docMk/>
            <pc:sldMk cId="2423102942" sldId="299"/>
            <ac:picMk id="19" creationId="{92290A48-786A-424B-BE20-E814DF1C7CF3}"/>
          </ac:picMkLst>
        </pc:picChg>
        <pc:picChg chg="add mod">
          <ac:chgData name="Rachel Elisabeth Eide" userId="4c2032d3-c297-445d-a36e-66896227502f" providerId="ADAL" clId="{C74CCDFD-7109-485F-A9EB-5A62319051BA}" dt="2022-09-21T11:18:02.738" v="30719" actId="1076"/>
          <ac:picMkLst>
            <pc:docMk/>
            <pc:sldMk cId="2423102942" sldId="299"/>
            <ac:picMk id="21" creationId="{0BEFF5D1-63EB-4C43-92F3-E3F6984D587A}"/>
          </ac:picMkLst>
        </pc:picChg>
        <pc:picChg chg="add mod">
          <ac:chgData name="Rachel Elisabeth Eide" userId="4c2032d3-c297-445d-a36e-66896227502f" providerId="ADAL" clId="{C74CCDFD-7109-485F-A9EB-5A62319051BA}" dt="2022-09-21T11:18:20.226" v="30721" actId="207"/>
          <ac:picMkLst>
            <pc:docMk/>
            <pc:sldMk cId="2423102942" sldId="299"/>
            <ac:picMk id="22" creationId="{E0195872-3896-4370-A967-10E94260D328}"/>
          </ac:picMkLst>
        </pc:picChg>
      </pc:sldChg>
    </pc:docChg>
  </pc:docChgLst>
  <pc:docChgLst>
    <pc:chgData name="Berit Gravdahl" userId="ac97bd2d-417e-4a11-b74b-00b05f861710" providerId="ADAL" clId="{E9774D7C-85F7-4686-8F40-B6D40202A80B}"/>
    <pc:docChg chg="undo custSel addSld delSld modSld sldOrd modMainMaster modNotesMaster">
      <pc:chgData name="Berit Gravdahl" userId="ac97bd2d-417e-4a11-b74b-00b05f861710" providerId="ADAL" clId="{E9774D7C-85F7-4686-8F40-B6D40202A80B}" dt="2022-09-21T16:34:17.033" v="20223" actId="20577"/>
      <pc:docMkLst>
        <pc:docMk/>
      </pc:docMkLst>
      <pc:sldChg chg="modSp ord addCm modNotes modNotesTx">
        <pc:chgData name="Berit Gravdahl" userId="ac97bd2d-417e-4a11-b74b-00b05f861710" providerId="ADAL" clId="{E9774D7C-85F7-4686-8F40-B6D40202A80B}" dt="2022-09-21T16:24:53.047" v="20068"/>
        <pc:sldMkLst>
          <pc:docMk/>
          <pc:sldMk cId="2064235866" sldId="256"/>
        </pc:sldMkLst>
        <pc:spChg chg="mod">
          <ac:chgData name="Berit Gravdahl" userId="ac97bd2d-417e-4a11-b74b-00b05f861710" providerId="ADAL" clId="{E9774D7C-85F7-4686-8F40-B6D40202A80B}" dt="2022-09-20T11:16:23.799" v="13604"/>
          <ac:spMkLst>
            <pc:docMk/>
            <pc:sldMk cId="2064235866" sldId="256"/>
            <ac:spMk id="2" creationId="{00000000-0000-0000-0000-000000000000}"/>
          </ac:spMkLst>
        </pc:spChg>
        <pc:spChg chg="mod">
          <ac:chgData name="Berit Gravdahl" userId="ac97bd2d-417e-4a11-b74b-00b05f861710" providerId="ADAL" clId="{E9774D7C-85F7-4686-8F40-B6D40202A80B}" dt="2022-09-20T11:16:23.799" v="13604"/>
          <ac:spMkLst>
            <pc:docMk/>
            <pc:sldMk cId="2064235866" sldId="256"/>
            <ac:spMk id="3" creationId="{00000000-0000-0000-0000-000000000000}"/>
          </ac:spMkLst>
        </pc:spChg>
        <pc:spChg chg="mod">
          <ac:chgData name="Berit Gravdahl" userId="ac97bd2d-417e-4a11-b74b-00b05f861710" providerId="ADAL" clId="{E9774D7C-85F7-4686-8F40-B6D40202A80B}" dt="2022-09-20T11:16:23.799" v="13604"/>
          <ac:spMkLst>
            <pc:docMk/>
            <pc:sldMk cId="2064235866" sldId="256"/>
            <ac:spMk id="7" creationId="{00000000-0000-0000-0000-000000000000}"/>
          </ac:spMkLst>
        </pc:spChg>
      </pc:sldChg>
      <pc:sldChg chg="del">
        <pc:chgData name="Berit Gravdahl" userId="ac97bd2d-417e-4a11-b74b-00b05f861710" providerId="ADAL" clId="{E9774D7C-85F7-4686-8F40-B6D40202A80B}" dt="2022-09-19T09:18:28.436" v="3629" actId="2696"/>
        <pc:sldMkLst>
          <pc:docMk/>
          <pc:sldMk cId="391337572" sldId="257"/>
        </pc:sldMkLst>
      </pc:sldChg>
      <pc:sldChg chg="add del modNotesTx">
        <pc:chgData name="Berit Gravdahl" userId="ac97bd2d-417e-4a11-b74b-00b05f861710" providerId="ADAL" clId="{E9774D7C-85F7-4686-8F40-B6D40202A80B}" dt="2022-09-19T09:18:32.948" v="3630" actId="2696"/>
        <pc:sldMkLst>
          <pc:docMk/>
          <pc:sldMk cId="2277383650" sldId="264"/>
        </pc:sldMkLst>
      </pc:sldChg>
      <pc:sldChg chg="modSp del mod modNotes modNotesTx">
        <pc:chgData name="Berit Gravdahl" userId="ac97bd2d-417e-4a11-b74b-00b05f861710" providerId="ADAL" clId="{E9774D7C-85F7-4686-8F40-B6D40202A80B}" dt="2022-09-19T09:29:38.367" v="4290" actId="2696"/>
        <pc:sldMkLst>
          <pc:docMk/>
          <pc:sldMk cId="3519172350" sldId="265"/>
        </pc:sldMkLst>
        <pc:spChg chg="mod">
          <ac:chgData name="Berit Gravdahl" userId="ac97bd2d-417e-4a11-b74b-00b05f861710" providerId="ADAL" clId="{E9774D7C-85F7-4686-8F40-B6D40202A80B}" dt="2022-09-08T10:52:40.040" v="919" actId="20577"/>
          <ac:spMkLst>
            <pc:docMk/>
            <pc:sldMk cId="3519172350" sldId="265"/>
            <ac:spMk id="4" creationId="{7524FB9E-B113-4678-9F38-73856E4FDFB7}"/>
          </ac:spMkLst>
        </pc:spChg>
        <pc:spChg chg="mod">
          <ac:chgData name="Berit Gravdahl" userId="ac97bd2d-417e-4a11-b74b-00b05f861710" providerId="ADAL" clId="{E9774D7C-85F7-4686-8F40-B6D40202A80B}" dt="2022-09-13T15:08:13.449" v="965" actId="20577"/>
          <ac:spMkLst>
            <pc:docMk/>
            <pc:sldMk cId="3519172350" sldId="265"/>
            <ac:spMk id="10" creationId="{F760D7BD-CBD7-4541-83B7-4AD9C6ECADF2}"/>
          </ac:spMkLst>
        </pc:spChg>
      </pc:sldChg>
      <pc:sldChg chg="delSp modSp mod modClrScheme chgLayout modNotes modNotesTx">
        <pc:chgData name="Berit Gravdahl" userId="ac97bd2d-417e-4a11-b74b-00b05f861710" providerId="ADAL" clId="{E9774D7C-85F7-4686-8F40-B6D40202A80B}" dt="2022-09-21T10:04:09.667" v="19744" actId="20577"/>
        <pc:sldMkLst>
          <pc:docMk/>
          <pc:sldMk cId="2768647289" sldId="266"/>
        </pc:sldMkLst>
        <pc:spChg chg="mod ord">
          <ac:chgData name="Berit Gravdahl" userId="ac97bd2d-417e-4a11-b74b-00b05f861710" providerId="ADAL" clId="{E9774D7C-85F7-4686-8F40-B6D40202A80B}" dt="2022-09-19T09:09:08.282" v="3169" actId="700"/>
          <ac:spMkLst>
            <pc:docMk/>
            <pc:sldMk cId="2768647289" sldId="266"/>
            <ac:spMk id="3" creationId="{00000000-0000-0000-0000-000000000000}"/>
          </ac:spMkLst>
        </pc:spChg>
        <pc:spChg chg="del mod">
          <ac:chgData name="Berit Gravdahl" userId="ac97bd2d-417e-4a11-b74b-00b05f861710" providerId="ADAL" clId="{E9774D7C-85F7-4686-8F40-B6D40202A80B}" dt="2022-09-19T09:09:08.282" v="3169" actId="700"/>
          <ac:spMkLst>
            <pc:docMk/>
            <pc:sldMk cId="2768647289" sldId="266"/>
            <ac:spMk id="5" creationId="{47293BD0-1F22-0ADC-88BC-3F73435814A4}"/>
          </ac:spMkLst>
        </pc:spChg>
        <pc:picChg chg="mod">
          <ac:chgData name="Berit Gravdahl" userId="ac97bd2d-417e-4a11-b74b-00b05f861710" providerId="ADAL" clId="{E9774D7C-85F7-4686-8F40-B6D40202A80B}" dt="2022-09-20T11:16:23.799" v="13604"/>
          <ac:picMkLst>
            <pc:docMk/>
            <pc:sldMk cId="2768647289" sldId="266"/>
            <ac:picMk id="2" creationId="{3EDA4F84-C853-9B85-8A68-F8EF18EAF519}"/>
          </ac:picMkLst>
        </pc:picChg>
        <pc:picChg chg="mod">
          <ac:chgData name="Berit Gravdahl" userId="ac97bd2d-417e-4a11-b74b-00b05f861710" providerId="ADAL" clId="{E9774D7C-85F7-4686-8F40-B6D40202A80B}" dt="2022-09-20T11:16:23.799" v="13604"/>
          <ac:picMkLst>
            <pc:docMk/>
            <pc:sldMk cId="2768647289" sldId="266"/>
            <ac:picMk id="4" creationId="{00BCE825-86D6-BB56-465B-B6C2B0E359B8}"/>
          </ac:picMkLst>
        </pc:picChg>
        <pc:picChg chg="mod ord modCrop">
          <ac:chgData name="Berit Gravdahl" userId="ac97bd2d-417e-4a11-b74b-00b05f861710" providerId="ADAL" clId="{E9774D7C-85F7-4686-8F40-B6D40202A80B}" dt="2022-09-20T11:16:23.799" v="13604"/>
          <ac:picMkLst>
            <pc:docMk/>
            <pc:sldMk cId="2768647289" sldId="266"/>
            <ac:picMk id="7" creationId="{3E2D6B14-CEE5-44BB-9D48-53C0882C01E7}"/>
          </ac:picMkLst>
        </pc:picChg>
        <pc:picChg chg="mod">
          <ac:chgData name="Berit Gravdahl" userId="ac97bd2d-417e-4a11-b74b-00b05f861710" providerId="ADAL" clId="{E9774D7C-85F7-4686-8F40-B6D40202A80B}" dt="2022-09-20T11:16:23.799" v="13604"/>
          <ac:picMkLst>
            <pc:docMk/>
            <pc:sldMk cId="2768647289" sldId="266"/>
            <ac:picMk id="10" creationId="{36367BC2-4B36-43E3-8958-490E56883791}"/>
          </ac:picMkLst>
        </pc:picChg>
      </pc:sldChg>
      <pc:sldChg chg="modNotes">
        <pc:chgData name="Berit Gravdahl" userId="ac97bd2d-417e-4a11-b74b-00b05f861710" providerId="ADAL" clId="{E9774D7C-85F7-4686-8F40-B6D40202A80B}" dt="2022-09-20T11:16:23.799" v="13604"/>
        <pc:sldMkLst>
          <pc:docMk/>
          <pc:sldMk cId="3819505342" sldId="269"/>
        </pc:sldMkLst>
      </pc:sldChg>
      <pc:sldChg chg="modSp mod ord modNotes modNotesTx">
        <pc:chgData name="Berit Gravdahl" userId="ac97bd2d-417e-4a11-b74b-00b05f861710" providerId="ADAL" clId="{E9774D7C-85F7-4686-8F40-B6D40202A80B}" dt="2022-09-19T10:22:10.624" v="7350" actId="20577"/>
        <pc:sldMkLst>
          <pc:docMk/>
          <pc:sldMk cId="1193424486" sldId="270"/>
        </pc:sldMkLst>
        <pc:spChg chg="mod">
          <ac:chgData name="Berit Gravdahl" userId="ac97bd2d-417e-4a11-b74b-00b05f861710" providerId="ADAL" clId="{E9774D7C-85F7-4686-8F40-B6D40202A80B}" dt="2022-09-19T10:13:31.812" v="7110" actId="20577"/>
          <ac:spMkLst>
            <pc:docMk/>
            <pc:sldMk cId="1193424486" sldId="270"/>
            <ac:spMk id="4" creationId="{7524FB9E-B113-4678-9F38-73856E4FDFB7}"/>
          </ac:spMkLst>
        </pc:spChg>
      </pc:sldChg>
      <pc:sldChg chg="modSp del mod modNotes modNotesTx">
        <pc:chgData name="Berit Gravdahl" userId="ac97bd2d-417e-4a11-b74b-00b05f861710" providerId="ADAL" clId="{E9774D7C-85F7-4686-8F40-B6D40202A80B}" dt="2022-09-19T11:26:05.880" v="8036" actId="2696"/>
        <pc:sldMkLst>
          <pc:docMk/>
          <pc:sldMk cId="3627173309" sldId="272"/>
        </pc:sldMkLst>
        <pc:spChg chg="mod">
          <ac:chgData name="Berit Gravdahl" userId="ac97bd2d-417e-4a11-b74b-00b05f861710" providerId="ADAL" clId="{E9774D7C-85F7-4686-8F40-B6D40202A80B}" dt="2022-09-19T10:07:03.531" v="6582" actId="20577"/>
          <ac:spMkLst>
            <pc:docMk/>
            <pc:sldMk cId="3627173309" sldId="272"/>
            <ac:spMk id="2" creationId="{E5BE78AD-AD94-4AA1-A028-090DAB10BB3A}"/>
          </ac:spMkLst>
        </pc:spChg>
      </pc:sldChg>
      <pc:sldChg chg="modSp new del mod">
        <pc:chgData name="Berit Gravdahl" userId="ac97bd2d-417e-4a11-b74b-00b05f861710" providerId="ADAL" clId="{E9774D7C-85F7-4686-8F40-B6D40202A80B}" dt="2022-09-19T11:25:25.763" v="8031" actId="2696"/>
        <pc:sldMkLst>
          <pc:docMk/>
          <pc:sldMk cId="1139692575" sldId="273"/>
        </pc:sldMkLst>
        <pc:spChg chg="mod">
          <ac:chgData name="Berit Gravdahl" userId="ac97bd2d-417e-4a11-b74b-00b05f861710" providerId="ADAL" clId="{E9774D7C-85F7-4686-8F40-B6D40202A80B}" dt="2022-09-07T18:38:37.263" v="7" actId="20577"/>
          <ac:spMkLst>
            <pc:docMk/>
            <pc:sldMk cId="1139692575" sldId="273"/>
            <ac:spMk id="2" creationId="{D003C92F-1D61-4FC7-BD85-9624C17911C5}"/>
          </ac:spMkLst>
        </pc:spChg>
        <pc:spChg chg="mod">
          <ac:chgData name="Berit Gravdahl" userId="ac97bd2d-417e-4a11-b74b-00b05f861710" providerId="ADAL" clId="{E9774D7C-85F7-4686-8F40-B6D40202A80B}" dt="2022-09-19T11:25:05.068" v="8026" actId="27636"/>
          <ac:spMkLst>
            <pc:docMk/>
            <pc:sldMk cId="1139692575" sldId="273"/>
            <ac:spMk id="3" creationId="{33E08E03-F54A-4DCD-A5CC-7DD581EFE070}"/>
          </ac:spMkLst>
        </pc:spChg>
      </pc:sldChg>
      <pc:sldChg chg="modSp new mod">
        <pc:chgData name="Berit Gravdahl" userId="ac97bd2d-417e-4a11-b74b-00b05f861710" providerId="ADAL" clId="{E9774D7C-85F7-4686-8F40-B6D40202A80B}" dt="2022-09-07T18:48:31.923" v="685" actId="20577"/>
        <pc:sldMkLst>
          <pc:docMk/>
          <pc:sldMk cId="1240561326" sldId="274"/>
        </pc:sldMkLst>
        <pc:spChg chg="mod">
          <ac:chgData name="Berit Gravdahl" userId="ac97bd2d-417e-4a11-b74b-00b05f861710" providerId="ADAL" clId="{E9774D7C-85F7-4686-8F40-B6D40202A80B}" dt="2022-09-07T18:46:49.400" v="408" actId="20577"/>
          <ac:spMkLst>
            <pc:docMk/>
            <pc:sldMk cId="1240561326" sldId="274"/>
            <ac:spMk id="2" creationId="{6AA05C7E-F974-487F-B795-5AF6C6742000}"/>
          </ac:spMkLst>
        </pc:spChg>
        <pc:spChg chg="mod">
          <ac:chgData name="Berit Gravdahl" userId="ac97bd2d-417e-4a11-b74b-00b05f861710" providerId="ADAL" clId="{E9774D7C-85F7-4686-8F40-B6D40202A80B}" dt="2022-09-07T18:48:31.923" v="685" actId="20577"/>
          <ac:spMkLst>
            <pc:docMk/>
            <pc:sldMk cId="1240561326" sldId="274"/>
            <ac:spMk id="3" creationId="{9E439208-7281-4985-8A2C-4095ACA07739}"/>
          </ac:spMkLst>
        </pc:spChg>
      </pc:sldChg>
      <pc:sldChg chg="modSp new del mod">
        <pc:chgData name="Berit Gravdahl" userId="ac97bd2d-417e-4a11-b74b-00b05f861710" providerId="ADAL" clId="{E9774D7C-85F7-4686-8F40-B6D40202A80B}" dt="2022-09-13T16:10:00.557" v="1014" actId="47"/>
        <pc:sldMkLst>
          <pc:docMk/>
          <pc:sldMk cId="237573647" sldId="275"/>
        </pc:sldMkLst>
        <pc:spChg chg="mod">
          <ac:chgData name="Berit Gravdahl" userId="ac97bd2d-417e-4a11-b74b-00b05f861710" providerId="ADAL" clId="{E9774D7C-85F7-4686-8F40-B6D40202A80B}" dt="2022-09-07T18:57:33.819" v="700" actId="20577"/>
          <ac:spMkLst>
            <pc:docMk/>
            <pc:sldMk cId="237573647" sldId="275"/>
            <ac:spMk id="2" creationId="{CC7DD819-B440-476D-B25B-DCE4B261AEE5}"/>
          </ac:spMkLst>
        </pc:spChg>
        <pc:spChg chg="mod">
          <ac:chgData name="Berit Gravdahl" userId="ac97bd2d-417e-4a11-b74b-00b05f861710" providerId="ADAL" clId="{E9774D7C-85F7-4686-8F40-B6D40202A80B}" dt="2022-09-07T19:01:44.936" v="880" actId="20577"/>
          <ac:spMkLst>
            <pc:docMk/>
            <pc:sldMk cId="237573647" sldId="275"/>
            <ac:spMk id="3" creationId="{30EF252D-6B0A-4B94-9F53-ECC8124EFCF8}"/>
          </ac:spMkLst>
        </pc:spChg>
      </pc:sldChg>
      <pc:sldChg chg="addSp delSp modSp new del mod">
        <pc:chgData name="Berit Gravdahl" userId="ac97bd2d-417e-4a11-b74b-00b05f861710" providerId="ADAL" clId="{E9774D7C-85F7-4686-8F40-B6D40202A80B}" dt="2022-09-07T18:53:59.071" v="692" actId="2696"/>
        <pc:sldMkLst>
          <pc:docMk/>
          <pc:sldMk cId="2661757543" sldId="275"/>
        </pc:sldMkLst>
        <pc:spChg chg="del">
          <ac:chgData name="Berit Gravdahl" userId="ac97bd2d-417e-4a11-b74b-00b05f861710" providerId="ADAL" clId="{E9774D7C-85F7-4686-8F40-B6D40202A80B}" dt="2022-09-07T18:53:39.354" v="691" actId="26606"/>
          <ac:spMkLst>
            <pc:docMk/>
            <pc:sldMk cId="2661757543" sldId="275"/>
            <ac:spMk id="2" creationId="{6338C811-727A-40F0-B1D4-F6F82E931131}"/>
          </ac:spMkLst>
        </pc:spChg>
        <pc:spChg chg="del">
          <ac:chgData name="Berit Gravdahl" userId="ac97bd2d-417e-4a11-b74b-00b05f861710" providerId="ADAL" clId="{E9774D7C-85F7-4686-8F40-B6D40202A80B}" dt="2022-09-07T18:53:34.094" v="687" actId="931"/>
          <ac:spMkLst>
            <pc:docMk/>
            <pc:sldMk cId="2661757543" sldId="275"/>
            <ac:spMk id="3" creationId="{3F10057D-A43A-4E8B-80E8-F6DD75399FCE}"/>
          </ac:spMkLst>
        </pc:spChg>
        <pc:spChg chg="mod">
          <ac:chgData name="Berit Gravdahl" userId="ac97bd2d-417e-4a11-b74b-00b05f861710" providerId="ADAL" clId="{E9774D7C-85F7-4686-8F40-B6D40202A80B}" dt="2022-09-07T18:53:39.354" v="691" actId="26606"/>
          <ac:spMkLst>
            <pc:docMk/>
            <pc:sldMk cId="2661757543" sldId="275"/>
            <ac:spMk id="4" creationId="{0ADCAF06-BBA5-446F-B9EC-67ABC931FF1B}"/>
          </ac:spMkLst>
        </pc:spChg>
        <pc:spChg chg="add">
          <ac:chgData name="Berit Gravdahl" userId="ac97bd2d-417e-4a11-b74b-00b05f861710" providerId="ADAL" clId="{E9774D7C-85F7-4686-8F40-B6D40202A80B}" dt="2022-09-07T18:53:39.354" v="691" actId="26606"/>
          <ac:spMkLst>
            <pc:docMk/>
            <pc:sldMk cId="2661757543" sldId="275"/>
            <ac:spMk id="11" creationId="{A976F588-CE1A-0597-3A91-3FA3F518BC08}"/>
          </ac:spMkLst>
        </pc:spChg>
        <pc:picChg chg="add mod">
          <ac:chgData name="Berit Gravdahl" userId="ac97bd2d-417e-4a11-b74b-00b05f861710" providerId="ADAL" clId="{E9774D7C-85F7-4686-8F40-B6D40202A80B}" dt="2022-09-07T18:53:39.354" v="691" actId="26606"/>
          <ac:picMkLst>
            <pc:docMk/>
            <pc:sldMk cId="2661757543" sldId="275"/>
            <ac:picMk id="6" creationId="{3D4FD7AC-CE5B-4AFC-8F60-4531592D09AD}"/>
          </ac:picMkLst>
        </pc:picChg>
      </pc:sldChg>
      <pc:sldChg chg="modSp del mod modNotes modNotesTx">
        <pc:chgData name="Berit Gravdahl" userId="ac97bd2d-417e-4a11-b74b-00b05f861710" providerId="ADAL" clId="{E9774D7C-85F7-4686-8F40-B6D40202A80B}" dt="2022-09-19T09:40:28.156" v="4527" actId="2696"/>
        <pc:sldMkLst>
          <pc:docMk/>
          <pc:sldMk cId="303930411" sldId="276"/>
        </pc:sldMkLst>
        <pc:spChg chg="mod">
          <ac:chgData name="Berit Gravdahl" userId="ac97bd2d-417e-4a11-b74b-00b05f861710" providerId="ADAL" clId="{E9774D7C-85F7-4686-8F40-B6D40202A80B}" dt="2022-09-13T15:38:27.823" v="1013" actId="20577"/>
          <ac:spMkLst>
            <pc:docMk/>
            <pc:sldMk cId="303930411" sldId="276"/>
            <ac:spMk id="3" creationId="{96527A27-199D-4BBB-B758-33E83962788E}"/>
          </ac:spMkLst>
        </pc:spChg>
      </pc:sldChg>
      <pc:sldChg chg="modSp mod modNotes modNotesTx">
        <pc:chgData name="Berit Gravdahl" userId="ac97bd2d-417e-4a11-b74b-00b05f861710" providerId="ADAL" clId="{E9774D7C-85F7-4686-8F40-B6D40202A80B}" dt="2022-09-19T11:14:49.203" v="7912" actId="20577"/>
        <pc:sldMkLst>
          <pc:docMk/>
          <pc:sldMk cId="2936336141" sldId="277"/>
        </pc:sldMkLst>
        <pc:spChg chg="mod">
          <ac:chgData name="Berit Gravdahl" userId="ac97bd2d-417e-4a11-b74b-00b05f861710" providerId="ADAL" clId="{E9774D7C-85F7-4686-8F40-B6D40202A80B}" dt="2022-09-19T11:13:52.658" v="7861" actId="21"/>
          <ac:spMkLst>
            <pc:docMk/>
            <pc:sldMk cId="2936336141" sldId="277"/>
            <ac:spMk id="4" creationId="{7524FB9E-B113-4678-9F38-73856E4FDFB7}"/>
          </ac:spMkLst>
        </pc:spChg>
      </pc:sldChg>
      <pc:sldChg chg="modSp del mod">
        <pc:chgData name="Berit Gravdahl" userId="ac97bd2d-417e-4a11-b74b-00b05f861710" providerId="ADAL" clId="{E9774D7C-85F7-4686-8F40-B6D40202A80B}" dt="2022-09-19T10:53:14.317" v="7748" actId="2696"/>
        <pc:sldMkLst>
          <pc:docMk/>
          <pc:sldMk cId="1673804308" sldId="278"/>
        </pc:sldMkLst>
        <pc:spChg chg="mod">
          <ac:chgData name="Berit Gravdahl" userId="ac97bd2d-417e-4a11-b74b-00b05f861710" providerId="ADAL" clId="{E9774D7C-85F7-4686-8F40-B6D40202A80B}" dt="2022-09-19T10:52:59.061" v="7745" actId="21"/>
          <ac:spMkLst>
            <pc:docMk/>
            <pc:sldMk cId="1673804308" sldId="278"/>
            <ac:spMk id="3" creationId="{7DD144FF-F802-4977-9502-6317D0C13BD9}"/>
          </ac:spMkLst>
        </pc:spChg>
      </pc:sldChg>
      <pc:sldChg chg="modSp del mod modNotesTx">
        <pc:chgData name="Berit Gravdahl" userId="ac97bd2d-417e-4a11-b74b-00b05f861710" providerId="ADAL" clId="{E9774D7C-85F7-4686-8F40-B6D40202A80B}" dt="2022-09-19T17:50:10.763" v="10633" actId="2696"/>
        <pc:sldMkLst>
          <pc:docMk/>
          <pc:sldMk cId="843735587" sldId="279"/>
        </pc:sldMkLst>
        <pc:spChg chg="mod">
          <ac:chgData name="Berit Gravdahl" userId="ac97bd2d-417e-4a11-b74b-00b05f861710" providerId="ADAL" clId="{E9774D7C-85F7-4686-8F40-B6D40202A80B}" dt="2022-09-19T11:17:26.066" v="7914" actId="20577"/>
          <ac:spMkLst>
            <pc:docMk/>
            <pc:sldMk cId="843735587" sldId="279"/>
            <ac:spMk id="3" creationId="{80F8F52E-B333-4E16-9971-C0E5B4A495C4}"/>
          </ac:spMkLst>
        </pc:spChg>
      </pc:sldChg>
      <pc:sldChg chg="del modNotes modNotesTx">
        <pc:chgData name="Berit Gravdahl" userId="ac97bd2d-417e-4a11-b74b-00b05f861710" providerId="ADAL" clId="{E9774D7C-85F7-4686-8F40-B6D40202A80B}" dt="2022-09-19T18:10:14.069" v="11743" actId="2696"/>
        <pc:sldMkLst>
          <pc:docMk/>
          <pc:sldMk cId="3631322330" sldId="280"/>
        </pc:sldMkLst>
      </pc:sldChg>
      <pc:sldChg chg="addSp delSp modSp new mod modClrScheme modCm chgLayout modNotes modNotesTx">
        <pc:chgData name="Berit Gravdahl" userId="ac97bd2d-417e-4a11-b74b-00b05f861710" providerId="ADAL" clId="{E9774D7C-85F7-4686-8F40-B6D40202A80B}" dt="2022-09-21T16:30:51.375" v="20220" actId="20577"/>
        <pc:sldMkLst>
          <pc:docMk/>
          <pc:sldMk cId="3462161845" sldId="281"/>
        </pc:sldMkLst>
        <pc:spChg chg="del mod">
          <ac:chgData name="Berit Gravdahl" userId="ac97bd2d-417e-4a11-b74b-00b05f861710" providerId="ADAL" clId="{E9774D7C-85F7-4686-8F40-B6D40202A80B}" dt="2022-09-19T07:10:43.414" v="1082" actId="26606"/>
          <ac:spMkLst>
            <pc:docMk/>
            <pc:sldMk cId="3462161845" sldId="281"/>
            <ac:spMk id="2" creationId="{9B89E45C-E090-4679-B357-5D1571E143BA}"/>
          </ac:spMkLst>
        </pc:spChg>
        <pc:spChg chg="mod">
          <ac:chgData name="Berit Gravdahl" userId="ac97bd2d-417e-4a11-b74b-00b05f861710" providerId="ADAL" clId="{E9774D7C-85F7-4686-8F40-B6D40202A80B}" dt="2022-09-20T11:16:23.799" v="13604"/>
          <ac:spMkLst>
            <pc:docMk/>
            <pc:sldMk cId="3462161845" sldId="281"/>
            <ac:spMk id="2" creationId="{D04596A2-6881-4834-80CE-3B4BFB10B70E}"/>
          </ac:spMkLst>
        </pc:spChg>
        <pc:spChg chg="del">
          <ac:chgData name="Berit Gravdahl" userId="ac97bd2d-417e-4a11-b74b-00b05f861710" providerId="ADAL" clId="{E9774D7C-85F7-4686-8F40-B6D40202A80B}" dt="2022-09-19T07:10:25.389" v="1078" actId="931"/>
          <ac:spMkLst>
            <pc:docMk/>
            <pc:sldMk cId="3462161845" sldId="281"/>
            <ac:spMk id="3" creationId="{5A693A5F-8691-4C60-AB31-EF40AF9F6C8D}"/>
          </ac:spMkLst>
        </pc:spChg>
        <pc:spChg chg="mod">
          <ac:chgData name="Berit Gravdahl" userId="ac97bd2d-417e-4a11-b74b-00b05f861710" providerId="ADAL" clId="{E9774D7C-85F7-4686-8F40-B6D40202A80B}" dt="2022-09-20T11:16:23.799" v="13604"/>
          <ac:spMkLst>
            <pc:docMk/>
            <pc:sldMk cId="3462161845" sldId="281"/>
            <ac:spMk id="4" creationId="{638717FA-E9F5-408A-BEFC-59303497D860}"/>
          </ac:spMkLst>
        </pc:spChg>
        <pc:picChg chg="add mod ord">
          <ac:chgData name="Berit Gravdahl" userId="ac97bd2d-417e-4a11-b74b-00b05f861710" providerId="ADAL" clId="{E9774D7C-85F7-4686-8F40-B6D40202A80B}" dt="2022-09-20T11:16:23.799" v="13604"/>
          <ac:picMkLst>
            <pc:docMk/>
            <pc:sldMk cId="3462161845" sldId="281"/>
            <ac:picMk id="6" creationId="{BEF3EFAD-D0B4-4803-BC7F-8E6849BC1BF1}"/>
          </ac:picMkLst>
        </pc:picChg>
      </pc:sldChg>
      <pc:sldChg chg="addSp delSp modSp new mod modClrScheme chgLayout modNotes modNotesTx">
        <pc:chgData name="Berit Gravdahl" userId="ac97bd2d-417e-4a11-b74b-00b05f861710" providerId="ADAL" clId="{E9774D7C-85F7-4686-8F40-B6D40202A80B}" dt="2022-09-20T11:16:23.799" v="13604"/>
        <pc:sldMkLst>
          <pc:docMk/>
          <pc:sldMk cId="1628385383" sldId="282"/>
        </pc:sldMkLst>
        <pc:spChg chg="del">
          <ac:chgData name="Berit Gravdahl" userId="ac97bd2d-417e-4a11-b74b-00b05f861710" providerId="ADAL" clId="{E9774D7C-85F7-4686-8F40-B6D40202A80B}" dt="2022-09-19T08:03:55.692" v="3166" actId="26606"/>
          <ac:spMkLst>
            <pc:docMk/>
            <pc:sldMk cId="1628385383" sldId="282"/>
            <ac:spMk id="2" creationId="{7D7AB669-100E-4C86-BCB4-E2E7886BC5A3}"/>
          </ac:spMkLst>
        </pc:spChg>
        <pc:spChg chg="del">
          <ac:chgData name="Berit Gravdahl" userId="ac97bd2d-417e-4a11-b74b-00b05f861710" providerId="ADAL" clId="{E9774D7C-85F7-4686-8F40-B6D40202A80B}" dt="2022-09-19T08:03:52.017" v="3161" actId="931"/>
          <ac:spMkLst>
            <pc:docMk/>
            <pc:sldMk cId="1628385383" sldId="282"/>
            <ac:spMk id="3" creationId="{7D6DDE37-83C6-4BAA-B69C-D57F132BF3CC}"/>
          </ac:spMkLst>
        </pc:spChg>
        <pc:spChg chg="mod">
          <ac:chgData name="Berit Gravdahl" userId="ac97bd2d-417e-4a11-b74b-00b05f861710" providerId="ADAL" clId="{E9774D7C-85F7-4686-8F40-B6D40202A80B}" dt="2022-09-20T11:16:23.799" v="13604"/>
          <ac:spMkLst>
            <pc:docMk/>
            <pc:sldMk cId="1628385383" sldId="282"/>
            <ac:spMk id="4" creationId="{F1FE46B1-E89C-4559-B57E-A81791DCA169}"/>
          </ac:spMkLst>
        </pc:spChg>
        <pc:picChg chg="add mod ord">
          <ac:chgData name="Berit Gravdahl" userId="ac97bd2d-417e-4a11-b74b-00b05f861710" providerId="ADAL" clId="{E9774D7C-85F7-4686-8F40-B6D40202A80B}" dt="2022-09-20T11:16:23.799" v="13604"/>
          <ac:picMkLst>
            <pc:docMk/>
            <pc:sldMk cId="1628385383" sldId="282"/>
            <ac:picMk id="6" creationId="{5963E5B8-9097-4C11-A98D-B59B09A860E3}"/>
          </ac:picMkLst>
        </pc:picChg>
      </pc:sldChg>
      <pc:sldChg chg="addSp delSp modSp new mod addCm modNotes modNotesTx">
        <pc:chgData name="Berit Gravdahl" userId="ac97bd2d-417e-4a11-b74b-00b05f861710" providerId="ADAL" clId="{E9774D7C-85F7-4686-8F40-B6D40202A80B}" dt="2022-09-21T16:22:18.316" v="20067" actId="27636"/>
        <pc:sldMkLst>
          <pc:docMk/>
          <pc:sldMk cId="1845203572" sldId="283"/>
        </pc:sldMkLst>
        <pc:spChg chg="del">
          <ac:chgData name="Berit Gravdahl" userId="ac97bd2d-417e-4a11-b74b-00b05f861710" providerId="ADAL" clId="{E9774D7C-85F7-4686-8F40-B6D40202A80B}" dt="2022-09-19T09:34:45.320" v="4292" actId="931"/>
          <ac:spMkLst>
            <pc:docMk/>
            <pc:sldMk cId="1845203572" sldId="283"/>
            <ac:spMk id="3" creationId="{FD2FEF39-A739-4521-A3F4-F8C79FA26F7D}"/>
          </ac:spMkLst>
        </pc:spChg>
        <pc:spChg chg="mod">
          <ac:chgData name="Berit Gravdahl" userId="ac97bd2d-417e-4a11-b74b-00b05f861710" providerId="ADAL" clId="{E9774D7C-85F7-4686-8F40-B6D40202A80B}" dt="2022-09-20T17:28:39.090" v="13873" actId="1076"/>
          <ac:spMkLst>
            <pc:docMk/>
            <pc:sldMk cId="1845203572" sldId="283"/>
            <ac:spMk id="13" creationId="{786E687A-6A9C-491A-9B14-82F9BF18F759}"/>
          </ac:spMkLst>
        </pc:spChg>
        <pc:picChg chg="add mod">
          <ac:chgData name="Berit Gravdahl" userId="ac97bd2d-417e-4a11-b74b-00b05f861710" providerId="ADAL" clId="{E9774D7C-85F7-4686-8F40-B6D40202A80B}" dt="2022-09-19T09:34:47.921" v="4294" actId="962"/>
          <ac:picMkLst>
            <pc:docMk/>
            <pc:sldMk cId="1845203572" sldId="283"/>
            <ac:picMk id="5" creationId="{66012EA6-C70B-46A4-8660-C50FB86A93F3}"/>
          </ac:picMkLst>
        </pc:picChg>
      </pc:sldChg>
      <pc:sldChg chg="addSp delSp modSp new del mod">
        <pc:chgData name="Berit Gravdahl" userId="ac97bd2d-417e-4a11-b74b-00b05f861710" providerId="ADAL" clId="{E9774D7C-85F7-4686-8F40-B6D40202A80B}" dt="2022-09-19T09:42:16.630" v="4533" actId="2696"/>
        <pc:sldMkLst>
          <pc:docMk/>
          <pc:sldMk cId="416027932" sldId="284"/>
        </pc:sldMkLst>
        <pc:spChg chg="del">
          <ac:chgData name="Berit Gravdahl" userId="ac97bd2d-417e-4a11-b74b-00b05f861710" providerId="ADAL" clId="{E9774D7C-85F7-4686-8F40-B6D40202A80B}" dt="2022-09-19T09:42:10.932" v="4532" actId="26606"/>
          <ac:spMkLst>
            <pc:docMk/>
            <pc:sldMk cId="416027932" sldId="284"/>
            <ac:spMk id="2" creationId="{B54F9AA8-6A64-487B-9C67-3C2FF3A1805D}"/>
          </ac:spMkLst>
        </pc:spChg>
        <pc:spChg chg="mod">
          <ac:chgData name="Berit Gravdahl" userId="ac97bd2d-417e-4a11-b74b-00b05f861710" providerId="ADAL" clId="{E9774D7C-85F7-4686-8F40-B6D40202A80B}" dt="2022-09-19T09:42:10.932" v="4532" actId="26606"/>
          <ac:spMkLst>
            <pc:docMk/>
            <pc:sldMk cId="416027932" sldId="284"/>
            <ac:spMk id="3" creationId="{79E4F13F-6046-49EE-B2CC-CBF3BA006EE2}"/>
          </ac:spMkLst>
        </pc:spChg>
        <pc:spChg chg="del">
          <ac:chgData name="Berit Gravdahl" userId="ac97bd2d-417e-4a11-b74b-00b05f861710" providerId="ADAL" clId="{E9774D7C-85F7-4686-8F40-B6D40202A80B}" dt="2022-09-19T09:42:06.075" v="4529" actId="931"/>
          <ac:spMkLst>
            <pc:docMk/>
            <pc:sldMk cId="416027932" sldId="284"/>
            <ac:spMk id="4" creationId="{F2B69686-AD44-4994-AEEB-0941BD646DB9}"/>
          </ac:spMkLst>
        </pc:spChg>
        <pc:spChg chg="del">
          <ac:chgData name="Berit Gravdahl" userId="ac97bd2d-417e-4a11-b74b-00b05f861710" providerId="ADAL" clId="{E9774D7C-85F7-4686-8F40-B6D40202A80B}" dt="2022-09-19T09:42:10.932" v="4532" actId="26606"/>
          <ac:spMkLst>
            <pc:docMk/>
            <pc:sldMk cId="416027932" sldId="284"/>
            <ac:spMk id="5" creationId="{2B555885-397D-48C5-AE81-B4C4524E372C}"/>
          </ac:spMkLst>
        </pc:spChg>
        <pc:spChg chg="add">
          <ac:chgData name="Berit Gravdahl" userId="ac97bd2d-417e-4a11-b74b-00b05f861710" providerId="ADAL" clId="{E9774D7C-85F7-4686-8F40-B6D40202A80B}" dt="2022-09-19T09:42:10.932" v="4532" actId="26606"/>
          <ac:spMkLst>
            <pc:docMk/>
            <pc:sldMk cId="416027932" sldId="284"/>
            <ac:spMk id="12" creationId="{637A24ED-D7BB-7E80-2786-EBA012665BCD}"/>
          </ac:spMkLst>
        </pc:spChg>
        <pc:spChg chg="add">
          <ac:chgData name="Berit Gravdahl" userId="ac97bd2d-417e-4a11-b74b-00b05f861710" providerId="ADAL" clId="{E9774D7C-85F7-4686-8F40-B6D40202A80B}" dt="2022-09-19T09:42:10.932" v="4532" actId="26606"/>
          <ac:spMkLst>
            <pc:docMk/>
            <pc:sldMk cId="416027932" sldId="284"/>
            <ac:spMk id="14" creationId="{8BA30DF0-E4EC-02D4-DCA0-FBB77AC568A6}"/>
          </ac:spMkLst>
        </pc:spChg>
        <pc:picChg chg="add mod">
          <ac:chgData name="Berit Gravdahl" userId="ac97bd2d-417e-4a11-b74b-00b05f861710" providerId="ADAL" clId="{E9774D7C-85F7-4686-8F40-B6D40202A80B}" dt="2022-09-19T09:42:10.932" v="4532" actId="26606"/>
          <ac:picMkLst>
            <pc:docMk/>
            <pc:sldMk cId="416027932" sldId="284"/>
            <ac:picMk id="7" creationId="{DC636349-51AC-4190-AEAE-E317305159DD}"/>
          </ac:picMkLst>
        </pc:picChg>
      </pc:sldChg>
      <pc:sldChg chg="addSp delSp modSp new mod modClrScheme addCm delCm modCm chgLayout modNotes modNotesTx">
        <pc:chgData name="Berit Gravdahl" userId="ac97bd2d-417e-4a11-b74b-00b05f861710" providerId="ADAL" clId="{E9774D7C-85F7-4686-8F40-B6D40202A80B}" dt="2022-09-21T16:34:17.033" v="20223" actId="20577"/>
        <pc:sldMkLst>
          <pc:docMk/>
          <pc:sldMk cId="3456094629" sldId="284"/>
        </pc:sldMkLst>
        <pc:spChg chg="mod">
          <ac:chgData name="Berit Gravdahl" userId="ac97bd2d-417e-4a11-b74b-00b05f861710" providerId="ADAL" clId="{E9774D7C-85F7-4686-8F40-B6D40202A80B}" dt="2022-09-20T11:16:23.799" v="13604"/>
          <ac:spMkLst>
            <pc:docMk/>
            <pc:sldMk cId="3456094629" sldId="284"/>
            <ac:spMk id="2" creationId="{3B2A5384-9CDB-4C09-A9BB-4AC7FC1DAD9B}"/>
          </ac:spMkLst>
        </pc:spChg>
        <pc:spChg chg="del">
          <ac:chgData name="Berit Gravdahl" userId="ac97bd2d-417e-4a11-b74b-00b05f861710" providerId="ADAL" clId="{E9774D7C-85F7-4686-8F40-B6D40202A80B}" dt="2022-09-19T09:58:55.364" v="5585" actId="26606"/>
          <ac:spMkLst>
            <pc:docMk/>
            <pc:sldMk cId="3456094629" sldId="284"/>
            <ac:spMk id="2" creationId="{89E078B9-486C-477A-8D2A-FAFDBB3BE4CC}"/>
          </ac:spMkLst>
        </pc:spChg>
        <pc:spChg chg="del">
          <ac:chgData name="Berit Gravdahl" userId="ac97bd2d-417e-4a11-b74b-00b05f861710" providerId="ADAL" clId="{E9774D7C-85F7-4686-8F40-B6D40202A80B}" dt="2022-09-19T09:58:49.596" v="5582" actId="931"/>
          <ac:spMkLst>
            <pc:docMk/>
            <pc:sldMk cId="3456094629" sldId="284"/>
            <ac:spMk id="3" creationId="{399D6665-D9CD-4887-A862-6C8E45BD8B6E}"/>
          </ac:spMkLst>
        </pc:spChg>
        <pc:spChg chg="mod">
          <ac:chgData name="Berit Gravdahl" userId="ac97bd2d-417e-4a11-b74b-00b05f861710" providerId="ADAL" clId="{E9774D7C-85F7-4686-8F40-B6D40202A80B}" dt="2022-09-20T11:16:23.799" v="13604"/>
          <ac:spMkLst>
            <pc:docMk/>
            <pc:sldMk cId="3456094629" sldId="284"/>
            <ac:spMk id="4" creationId="{21E161AB-70A1-4A78-97CF-2BFCC5384E70}"/>
          </ac:spMkLst>
        </pc:spChg>
        <pc:picChg chg="add mod ord">
          <ac:chgData name="Berit Gravdahl" userId="ac97bd2d-417e-4a11-b74b-00b05f861710" providerId="ADAL" clId="{E9774D7C-85F7-4686-8F40-B6D40202A80B}" dt="2022-09-20T11:16:23.799" v="13604"/>
          <ac:picMkLst>
            <pc:docMk/>
            <pc:sldMk cId="3456094629" sldId="284"/>
            <ac:picMk id="6" creationId="{FC2A6122-A08F-482D-BEC3-8FE427ED86A1}"/>
          </ac:picMkLst>
        </pc:picChg>
      </pc:sldChg>
      <pc:sldChg chg="addSp delSp modSp new mod addCm modNotes modNotesTx">
        <pc:chgData name="Berit Gravdahl" userId="ac97bd2d-417e-4a11-b74b-00b05f861710" providerId="ADAL" clId="{E9774D7C-85F7-4686-8F40-B6D40202A80B}" dt="2022-09-21T10:12:08.459" v="20011"/>
        <pc:sldMkLst>
          <pc:docMk/>
          <pc:sldMk cId="365082603" sldId="285"/>
        </pc:sldMkLst>
        <pc:spChg chg="mod">
          <ac:chgData name="Berit Gravdahl" userId="ac97bd2d-417e-4a11-b74b-00b05f861710" providerId="ADAL" clId="{E9774D7C-85F7-4686-8F40-B6D40202A80B}" dt="2022-09-20T11:16:23.799" v="13604"/>
          <ac:spMkLst>
            <pc:docMk/>
            <pc:sldMk cId="365082603" sldId="285"/>
            <ac:spMk id="2" creationId="{4CC425C6-8A99-4765-A6AF-D1AAB7FFB1E6}"/>
          </ac:spMkLst>
        </pc:spChg>
        <pc:spChg chg="mod">
          <ac:chgData name="Berit Gravdahl" userId="ac97bd2d-417e-4a11-b74b-00b05f861710" providerId="ADAL" clId="{E9774D7C-85F7-4686-8F40-B6D40202A80B}" dt="2022-09-20T11:16:23.799" v="13604"/>
          <ac:spMkLst>
            <pc:docMk/>
            <pc:sldMk cId="365082603" sldId="285"/>
            <ac:spMk id="3" creationId="{E16BBEB8-EDAF-40F5-A88C-2BCE4505548A}"/>
          </ac:spMkLst>
        </pc:spChg>
        <pc:spChg chg="del">
          <ac:chgData name="Berit Gravdahl" userId="ac97bd2d-417e-4a11-b74b-00b05f861710" providerId="ADAL" clId="{E9774D7C-85F7-4686-8F40-B6D40202A80B}" dt="2022-09-19T11:03:26.124" v="7848" actId="931"/>
          <ac:spMkLst>
            <pc:docMk/>
            <pc:sldMk cId="365082603" sldId="285"/>
            <ac:spMk id="4" creationId="{914E552D-2F17-4EE8-ADAB-4BD336BBBD74}"/>
          </ac:spMkLst>
        </pc:spChg>
        <pc:spChg chg="mod">
          <ac:chgData name="Berit Gravdahl" userId="ac97bd2d-417e-4a11-b74b-00b05f861710" providerId="ADAL" clId="{E9774D7C-85F7-4686-8F40-B6D40202A80B}" dt="2022-09-20T11:16:23.799" v="13604"/>
          <ac:spMkLst>
            <pc:docMk/>
            <pc:sldMk cId="365082603" sldId="285"/>
            <ac:spMk id="7" creationId="{35B2DC7A-CC5D-49F6-AB88-6AE395D02AE4}"/>
          </ac:spMkLst>
        </pc:spChg>
        <pc:picChg chg="add mod">
          <ac:chgData name="Berit Gravdahl" userId="ac97bd2d-417e-4a11-b74b-00b05f861710" providerId="ADAL" clId="{E9774D7C-85F7-4686-8F40-B6D40202A80B}" dt="2022-09-20T11:16:23.799" v="13604"/>
          <ac:picMkLst>
            <pc:docMk/>
            <pc:sldMk cId="365082603" sldId="285"/>
            <ac:picMk id="6" creationId="{2A1BA45C-C525-4972-9547-E4183BA1761D}"/>
          </ac:picMkLst>
        </pc:picChg>
      </pc:sldChg>
      <pc:sldChg chg="del">
        <pc:chgData name="Berit Gravdahl" userId="ac97bd2d-417e-4a11-b74b-00b05f861710" providerId="ADAL" clId="{E9774D7C-85F7-4686-8F40-B6D40202A80B}" dt="2022-09-19T11:23:54.433" v="8022" actId="2696"/>
        <pc:sldMkLst>
          <pc:docMk/>
          <pc:sldMk cId="2943401577" sldId="286"/>
        </pc:sldMkLst>
      </pc:sldChg>
      <pc:sldChg chg="new">
        <pc:chgData name="Berit Gravdahl" userId="ac97bd2d-417e-4a11-b74b-00b05f861710" providerId="ADAL" clId="{E9774D7C-85F7-4686-8F40-B6D40202A80B}" dt="2022-09-19T11:15:39.619" v="7913" actId="680"/>
        <pc:sldMkLst>
          <pc:docMk/>
          <pc:sldMk cId="2560919519" sldId="287"/>
        </pc:sldMkLst>
      </pc:sldChg>
      <pc:sldChg chg="modSp mod ord addCm modNotes modNotesTx">
        <pc:chgData name="Berit Gravdahl" userId="ac97bd2d-417e-4a11-b74b-00b05f861710" providerId="ADAL" clId="{E9774D7C-85F7-4686-8F40-B6D40202A80B}" dt="2022-09-21T07:39:43.141" v="16960"/>
        <pc:sldMkLst>
          <pc:docMk/>
          <pc:sldMk cId="3242811176" sldId="288"/>
        </pc:sldMkLst>
        <pc:spChg chg="mod">
          <ac:chgData name="Berit Gravdahl" userId="ac97bd2d-417e-4a11-b74b-00b05f861710" providerId="ADAL" clId="{E9774D7C-85F7-4686-8F40-B6D40202A80B}" dt="2022-09-20T11:16:23.799" v="13604"/>
          <ac:spMkLst>
            <pc:docMk/>
            <pc:sldMk cId="3242811176" sldId="288"/>
            <ac:spMk id="2" creationId="{E5BE78AD-AD94-4AA1-A028-090DAB10BB3A}"/>
          </ac:spMkLst>
        </pc:spChg>
        <pc:spChg chg="mod">
          <ac:chgData name="Berit Gravdahl" userId="ac97bd2d-417e-4a11-b74b-00b05f861710" providerId="ADAL" clId="{E9774D7C-85F7-4686-8F40-B6D40202A80B}" dt="2022-09-20T11:16:23.799" v="13604"/>
          <ac:spMkLst>
            <pc:docMk/>
            <pc:sldMk cId="3242811176" sldId="288"/>
            <ac:spMk id="3" creationId="{00000000-0000-0000-0000-000000000000}"/>
          </ac:spMkLst>
        </pc:spChg>
        <pc:spChg chg="mod">
          <ac:chgData name="Berit Gravdahl" userId="ac97bd2d-417e-4a11-b74b-00b05f861710" providerId="ADAL" clId="{E9774D7C-85F7-4686-8F40-B6D40202A80B}" dt="2022-09-20T11:16:23.799" v="13604"/>
          <ac:spMkLst>
            <pc:docMk/>
            <pc:sldMk cId="3242811176" sldId="288"/>
            <ac:spMk id="4" creationId="{7524FB9E-B113-4678-9F38-73856E4FDFB7}"/>
          </ac:spMkLst>
        </pc:spChg>
        <pc:picChg chg="mod">
          <ac:chgData name="Berit Gravdahl" userId="ac97bd2d-417e-4a11-b74b-00b05f861710" providerId="ADAL" clId="{E9774D7C-85F7-4686-8F40-B6D40202A80B}" dt="2022-09-20T11:16:23.799" v="13604"/>
          <ac:picMkLst>
            <pc:docMk/>
            <pc:sldMk cId="3242811176" sldId="288"/>
            <ac:picMk id="6" creationId="{F491D1C8-7FE2-41C0-9A37-6B86D59868EB}"/>
          </ac:picMkLst>
        </pc:picChg>
        <pc:picChg chg="mod">
          <ac:chgData name="Berit Gravdahl" userId="ac97bd2d-417e-4a11-b74b-00b05f861710" providerId="ADAL" clId="{E9774D7C-85F7-4686-8F40-B6D40202A80B}" dt="2022-09-20T11:16:23.799" v="13604"/>
          <ac:picMkLst>
            <pc:docMk/>
            <pc:sldMk cId="3242811176" sldId="288"/>
            <ac:picMk id="8" creationId="{0B3B1F1A-AC7E-4FA7-9F03-DB28727C775A}"/>
          </ac:picMkLst>
        </pc:picChg>
        <pc:picChg chg="mod">
          <ac:chgData name="Berit Gravdahl" userId="ac97bd2d-417e-4a11-b74b-00b05f861710" providerId="ADAL" clId="{E9774D7C-85F7-4686-8F40-B6D40202A80B}" dt="2022-09-20T11:16:23.799" v="13604"/>
          <ac:picMkLst>
            <pc:docMk/>
            <pc:sldMk cId="3242811176" sldId="288"/>
            <ac:picMk id="10" creationId="{0A2660BB-4A8A-444D-8B42-113029DF5284}"/>
          </ac:picMkLst>
        </pc:picChg>
      </pc:sldChg>
      <pc:sldChg chg="new del">
        <pc:chgData name="Berit Gravdahl" userId="ac97bd2d-417e-4a11-b74b-00b05f861710" providerId="ADAL" clId="{E9774D7C-85F7-4686-8F40-B6D40202A80B}" dt="2022-09-19T18:09:45.884" v="11740" actId="2696"/>
        <pc:sldMkLst>
          <pc:docMk/>
          <pc:sldMk cId="2092531965" sldId="289"/>
        </pc:sldMkLst>
      </pc:sldChg>
      <pc:sldChg chg="addSp delSp modSp new mod modClrScheme addCm modCm chgLayout modNotes modNotesTx">
        <pc:chgData name="Berit Gravdahl" userId="ac97bd2d-417e-4a11-b74b-00b05f861710" providerId="ADAL" clId="{E9774D7C-85F7-4686-8F40-B6D40202A80B}" dt="2022-09-21T10:20:28.153" v="20066"/>
        <pc:sldMkLst>
          <pc:docMk/>
          <pc:sldMk cId="3295221613" sldId="290"/>
        </pc:sldMkLst>
        <pc:spChg chg="del">
          <ac:chgData name="Berit Gravdahl" userId="ac97bd2d-417e-4a11-b74b-00b05f861710" providerId="ADAL" clId="{E9774D7C-85F7-4686-8F40-B6D40202A80B}" dt="2022-09-19T17:37:52.461" v="8579" actId="26606"/>
          <ac:spMkLst>
            <pc:docMk/>
            <pc:sldMk cId="3295221613" sldId="290"/>
            <ac:spMk id="2" creationId="{28302A01-7734-4E17-873D-23231B67AB18}"/>
          </ac:spMkLst>
        </pc:spChg>
        <pc:spChg chg="del">
          <ac:chgData name="Berit Gravdahl" userId="ac97bd2d-417e-4a11-b74b-00b05f861710" providerId="ADAL" clId="{E9774D7C-85F7-4686-8F40-B6D40202A80B}" dt="2022-09-19T17:37:47.928" v="8576" actId="931"/>
          <ac:spMkLst>
            <pc:docMk/>
            <pc:sldMk cId="3295221613" sldId="290"/>
            <ac:spMk id="3" creationId="{36075581-AE36-4566-9AC0-40B5592072A3}"/>
          </ac:spMkLst>
        </pc:spChg>
        <pc:spChg chg="mod">
          <ac:chgData name="Berit Gravdahl" userId="ac97bd2d-417e-4a11-b74b-00b05f861710" providerId="ADAL" clId="{E9774D7C-85F7-4686-8F40-B6D40202A80B}" dt="2022-09-20T11:16:23.799" v="13604"/>
          <ac:spMkLst>
            <pc:docMk/>
            <pc:sldMk cId="3295221613" sldId="290"/>
            <ac:spMk id="4" creationId="{97205A39-D04B-44C8-974A-857A79A374EF}"/>
          </ac:spMkLst>
        </pc:spChg>
        <pc:picChg chg="add mod ord">
          <ac:chgData name="Berit Gravdahl" userId="ac97bd2d-417e-4a11-b74b-00b05f861710" providerId="ADAL" clId="{E9774D7C-85F7-4686-8F40-B6D40202A80B}" dt="2022-09-20T11:16:23.799" v="13604"/>
          <ac:picMkLst>
            <pc:docMk/>
            <pc:sldMk cId="3295221613" sldId="290"/>
            <ac:picMk id="6" creationId="{C32AE551-F1FA-44F8-B2ED-67C7115161FE}"/>
          </ac:picMkLst>
        </pc:picChg>
      </pc:sldChg>
      <pc:sldChg chg="modSp addCm modCm modNotes modNotesTx">
        <pc:chgData name="Berit Gravdahl" userId="ac97bd2d-417e-4a11-b74b-00b05f861710" providerId="ADAL" clId="{E9774D7C-85F7-4686-8F40-B6D40202A80B}" dt="2022-09-21T16:28:59.837" v="20179" actId="20577"/>
        <pc:sldMkLst>
          <pc:docMk/>
          <pc:sldMk cId="969016687" sldId="291"/>
        </pc:sldMkLst>
        <pc:spChg chg="mod">
          <ac:chgData name="Berit Gravdahl" userId="ac97bd2d-417e-4a11-b74b-00b05f861710" providerId="ADAL" clId="{E9774D7C-85F7-4686-8F40-B6D40202A80B}" dt="2022-09-20T11:16:23.799" v="13604"/>
          <ac:spMkLst>
            <pc:docMk/>
            <pc:sldMk cId="969016687" sldId="291"/>
            <ac:spMk id="4" creationId="{7DC4DCA4-4C96-4DFA-9CEC-A94704DFC97E}"/>
          </ac:spMkLst>
        </pc:spChg>
      </pc:sldChg>
      <pc:sldChg chg="modCm modNotesTx">
        <pc:chgData name="Berit Gravdahl" userId="ac97bd2d-417e-4a11-b74b-00b05f861710" providerId="ADAL" clId="{E9774D7C-85F7-4686-8F40-B6D40202A80B}" dt="2022-09-21T10:04:48.495" v="19773" actId="20577"/>
        <pc:sldMkLst>
          <pc:docMk/>
          <pc:sldMk cId="848880958" sldId="292"/>
        </pc:sldMkLst>
      </pc:sldChg>
      <pc:sldChg chg="addSp delSp modSp mod modClrScheme chgLayout modNotes modNotesTx">
        <pc:chgData name="Berit Gravdahl" userId="ac97bd2d-417e-4a11-b74b-00b05f861710" providerId="ADAL" clId="{E9774D7C-85F7-4686-8F40-B6D40202A80B}" dt="2022-09-21T10:19:28.551" v="20065" actId="20577"/>
        <pc:sldMkLst>
          <pc:docMk/>
          <pc:sldMk cId="1257100697" sldId="295"/>
        </pc:sldMkLst>
        <pc:spChg chg="add del mod ord">
          <ac:chgData name="Berit Gravdahl" userId="ac97bd2d-417e-4a11-b74b-00b05f861710" providerId="ADAL" clId="{E9774D7C-85F7-4686-8F40-B6D40202A80B}" dt="2022-09-20T19:14:56.285" v="14030" actId="26606"/>
          <ac:spMkLst>
            <pc:docMk/>
            <pc:sldMk cId="1257100697" sldId="295"/>
            <ac:spMk id="2" creationId="{619DEE65-F09C-4ED5-87AD-54F84C9B397E}"/>
          </ac:spMkLst>
        </pc:spChg>
        <pc:spChg chg="add del mod ord">
          <ac:chgData name="Berit Gravdahl" userId="ac97bd2d-417e-4a11-b74b-00b05f861710" providerId="ADAL" clId="{E9774D7C-85F7-4686-8F40-B6D40202A80B}" dt="2022-09-20T19:14:56.285" v="14030" actId="26606"/>
          <ac:spMkLst>
            <pc:docMk/>
            <pc:sldMk cId="1257100697" sldId="295"/>
            <ac:spMk id="3" creationId="{3310ABDD-4102-44C9-A33A-28B3914CE84F}"/>
          </ac:spMkLst>
        </pc:spChg>
        <pc:spChg chg="mod ord">
          <ac:chgData name="Berit Gravdahl" userId="ac97bd2d-417e-4a11-b74b-00b05f861710" providerId="ADAL" clId="{E9774D7C-85F7-4686-8F40-B6D40202A80B}" dt="2022-09-20T19:15:11.146" v="14033" actId="26606"/>
          <ac:spMkLst>
            <pc:docMk/>
            <pc:sldMk cId="1257100697" sldId="295"/>
            <ac:spMk id="4" creationId="{F1FE46B1-E89C-4559-B57E-A81791DCA169}"/>
          </ac:spMkLst>
        </pc:spChg>
        <pc:spChg chg="add del mod">
          <ac:chgData name="Berit Gravdahl" userId="ac97bd2d-417e-4a11-b74b-00b05f861710" providerId="ADAL" clId="{E9774D7C-85F7-4686-8F40-B6D40202A80B}" dt="2022-09-20T19:15:11.146" v="14033" actId="26606"/>
          <ac:spMkLst>
            <pc:docMk/>
            <pc:sldMk cId="1257100697" sldId="295"/>
            <ac:spMk id="11" creationId="{3CB214F3-ECB7-1F76-A940-2D37933A6328}"/>
          </ac:spMkLst>
        </pc:spChg>
        <pc:spChg chg="add del mod">
          <ac:chgData name="Berit Gravdahl" userId="ac97bd2d-417e-4a11-b74b-00b05f861710" providerId="ADAL" clId="{E9774D7C-85F7-4686-8F40-B6D40202A80B}" dt="2022-09-20T19:15:11.146" v="14033" actId="26606"/>
          <ac:spMkLst>
            <pc:docMk/>
            <pc:sldMk cId="1257100697" sldId="295"/>
            <ac:spMk id="13" creationId="{F6BEDF51-F90A-2472-1A1C-C82C381B6162}"/>
          </ac:spMkLst>
        </pc:spChg>
        <pc:spChg chg="add del">
          <ac:chgData name="Berit Gravdahl" userId="ac97bd2d-417e-4a11-b74b-00b05f861710" providerId="ADAL" clId="{E9774D7C-85F7-4686-8F40-B6D40202A80B}" dt="2022-09-20T19:15:11.138" v="14032" actId="26606"/>
          <ac:spMkLst>
            <pc:docMk/>
            <pc:sldMk cId="1257100697" sldId="295"/>
            <ac:spMk id="18" creationId="{72634ABB-FC71-C562-2B47-239991561F1F}"/>
          </ac:spMkLst>
        </pc:spChg>
        <pc:spChg chg="add del">
          <ac:chgData name="Berit Gravdahl" userId="ac97bd2d-417e-4a11-b74b-00b05f861710" providerId="ADAL" clId="{E9774D7C-85F7-4686-8F40-B6D40202A80B}" dt="2022-09-20T19:15:11.138" v="14032" actId="26606"/>
          <ac:spMkLst>
            <pc:docMk/>
            <pc:sldMk cId="1257100697" sldId="295"/>
            <ac:spMk id="20" creationId="{9A20011E-0134-6ED5-4871-9C03545F4E1F}"/>
          </ac:spMkLst>
        </pc:spChg>
        <pc:spChg chg="add mod">
          <ac:chgData name="Berit Gravdahl" userId="ac97bd2d-417e-4a11-b74b-00b05f861710" providerId="ADAL" clId="{E9774D7C-85F7-4686-8F40-B6D40202A80B}" dt="2022-09-20T19:15:48.688" v="14128" actId="20577"/>
          <ac:spMkLst>
            <pc:docMk/>
            <pc:sldMk cId="1257100697" sldId="295"/>
            <ac:spMk id="22" creationId="{211DC0DC-F7D4-F9D2-B1C0-CE9D40356F5D}"/>
          </ac:spMkLst>
        </pc:spChg>
        <pc:spChg chg="add mod">
          <ac:chgData name="Berit Gravdahl" userId="ac97bd2d-417e-4a11-b74b-00b05f861710" providerId="ADAL" clId="{E9774D7C-85F7-4686-8F40-B6D40202A80B}" dt="2022-09-21T07:37:41.640" v="16791" actId="20577"/>
          <ac:spMkLst>
            <pc:docMk/>
            <pc:sldMk cId="1257100697" sldId="295"/>
            <ac:spMk id="23" creationId="{C4676D6C-4B0A-9C8E-8861-A6A4A2AC0CB7}"/>
          </ac:spMkLst>
        </pc:spChg>
        <pc:picChg chg="mod ord modCrop">
          <ac:chgData name="Berit Gravdahl" userId="ac97bd2d-417e-4a11-b74b-00b05f861710" providerId="ADAL" clId="{E9774D7C-85F7-4686-8F40-B6D40202A80B}" dt="2022-09-20T19:54:07.968" v="14824" actId="14826"/>
          <ac:picMkLst>
            <pc:docMk/>
            <pc:sldMk cId="1257100697" sldId="295"/>
            <ac:picMk id="6" creationId="{5963E5B8-9097-4C11-A98D-B59B09A860E3}"/>
          </ac:picMkLst>
        </pc:picChg>
      </pc:sldChg>
      <pc:sldChg chg="ord addCm delCm modNotes modNotesTx">
        <pc:chgData name="Berit Gravdahl" userId="ac97bd2d-417e-4a11-b74b-00b05f861710" providerId="ADAL" clId="{E9774D7C-85F7-4686-8F40-B6D40202A80B}" dt="2022-09-21T09:43:20.972" v="19666"/>
        <pc:sldMkLst>
          <pc:docMk/>
          <pc:sldMk cId="4238787944" sldId="296"/>
        </pc:sldMkLst>
      </pc:sldChg>
      <pc:sldChg chg="delSp modSp new del mod ord modClrScheme chgLayout">
        <pc:chgData name="Berit Gravdahl" userId="ac97bd2d-417e-4a11-b74b-00b05f861710" providerId="ADAL" clId="{E9774D7C-85F7-4686-8F40-B6D40202A80B}" dt="2022-09-20T19:20:37.693" v="14335" actId="2696"/>
        <pc:sldMkLst>
          <pc:docMk/>
          <pc:sldMk cId="517779744" sldId="297"/>
        </pc:sldMkLst>
        <pc:spChg chg="del">
          <ac:chgData name="Berit Gravdahl" userId="ac97bd2d-417e-4a11-b74b-00b05f861710" providerId="ADAL" clId="{E9774D7C-85F7-4686-8F40-B6D40202A80B}" dt="2022-09-20T19:18:31.036" v="14307" actId="700"/>
          <ac:spMkLst>
            <pc:docMk/>
            <pc:sldMk cId="517779744" sldId="297"/>
            <ac:spMk id="2" creationId="{DBDF4468-A008-43FB-AC20-8162F552BB06}"/>
          </ac:spMkLst>
        </pc:spChg>
        <pc:spChg chg="mod ord">
          <ac:chgData name="Berit Gravdahl" userId="ac97bd2d-417e-4a11-b74b-00b05f861710" providerId="ADAL" clId="{E9774D7C-85F7-4686-8F40-B6D40202A80B}" dt="2022-09-20T19:18:31.036" v="14307" actId="700"/>
          <ac:spMkLst>
            <pc:docMk/>
            <pc:sldMk cId="517779744" sldId="297"/>
            <ac:spMk id="3" creationId="{E025198C-3453-4673-8AB4-EFBA0BC93609}"/>
          </ac:spMkLst>
        </pc:spChg>
        <pc:spChg chg="del">
          <ac:chgData name="Berit Gravdahl" userId="ac97bd2d-417e-4a11-b74b-00b05f861710" providerId="ADAL" clId="{E9774D7C-85F7-4686-8F40-B6D40202A80B}" dt="2022-09-20T19:18:31.036" v="14307" actId="700"/>
          <ac:spMkLst>
            <pc:docMk/>
            <pc:sldMk cId="517779744" sldId="297"/>
            <ac:spMk id="4" creationId="{0ABE0CD6-3AFB-47CC-B545-5DB728BE8CA2}"/>
          </ac:spMkLst>
        </pc:spChg>
        <pc:spChg chg="del">
          <ac:chgData name="Berit Gravdahl" userId="ac97bd2d-417e-4a11-b74b-00b05f861710" providerId="ADAL" clId="{E9774D7C-85F7-4686-8F40-B6D40202A80B}" dt="2022-09-20T19:18:31.036" v="14307" actId="700"/>
          <ac:spMkLst>
            <pc:docMk/>
            <pc:sldMk cId="517779744" sldId="297"/>
            <ac:spMk id="5" creationId="{1FA69AEA-0173-4BCB-A5C0-C1F0FEAA33D5}"/>
          </ac:spMkLst>
        </pc:spChg>
      </pc:sldChg>
      <pc:sldChg chg="modSp mod addCm delCm modNotes modNotesTx">
        <pc:chgData name="Berit Gravdahl" userId="ac97bd2d-417e-4a11-b74b-00b05f861710" providerId="ADAL" clId="{E9774D7C-85F7-4686-8F40-B6D40202A80B}" dt="2022-09-21T10:16:10.312" v="20022" actId="20577"/>
        <pc:sldMkLst>
          <pc:docMk/>
          <pc:sldMk cId="2984738546" sldId="298"/>
        </pc:sldMkLst>
        <pc:spChg chg="mod">
          <ac:chgData name="Berit Gravdahl" userId="ac97bd2d-417e-4a11-b74b-00b05f861710" providerId="ADAL" clId="{E9774D7C-85F7-4686-8F40-B6D40202A80B}" dt="2022-09-20T19:21:03.845" v="14446" actId="20577"/>
          <ac:spMkLst>
            <pc:docMk/>
            <pc:sldMk cId="2984738546" sldId="298"/>
            <ac:spMk id="22" creationId="{211DC0DC-F7D4-F9D2-B1C0-CE9D40356F5D}"/>
          </ac:spMkLst>
        </pc:spChg>
        <pc:spChg chg="mod">
          <ac:chgData name="Berit Gravdahl" userId="ac97bd2d-417e-4a11-b74b-00b05f861710" providerId="ADAL" clId="{E9774D7C-85F7-4686-8F40-B6D40202A80B}" dt="2022-09-21T10:13:04.533" v="20013" actId="790"/>
          <ac:spMkLst>
            <pc:docMk/>
            <pc:sldMk cId="2984738546" sldId="298"/>
            <ac:spMk id="23" creationId="{C4676D6C-4B0A-9C8E-8861-A6A4A2AC0CB7}"/>
          </ac:spMkLst>
        </pc:spChg>
        <pc:picChg chg="mod">
          <ac:chgData name="Berit Gravdahl" userId="ac97bd2d-417e-4a11-b74b-00b05f861710" providerId="ADAL" clId="{E9774D7C-85F7-4686-8F40-B6D40202A80B}" dt="2022-09-20T19:22:03.117" v="14447" actId="14826"/>
          <ac:picMkLst>
            <pc:docMk/>
            <pc:sldMk cId="2984738546" sldId="298"/>
            <ac:picMk id="6" creationId="{5963E5B8-9097-4C11-A98D-B59B09A860E3}"/>
          </ac:picMkLst>
        </pc:picChg>
      </pc:sldChg>
      <pc:sldMasterChg chg="modSp modSldLayout">
        <pc:chgData name="Berit Gravdahl" userId="ac97bd2d-417e-4a11-b74b-00b05f861710" providerId="ADAL" clId="{E9774D7C-85F7-4686-8F40-B6D40202A80B}" dt="2022-09-20T11:16:23.799" v="13604"/>
        <pc:sldMasterMkLst>
          <pc:docMk/>
          <pc:sldMasterMk cId="3333494721" sldId="2147483648"/>
        </pc:sldMasterMkLst>
        <pc:spChg chg="mod">
          <ac:chgData name="Berit Gravdahl" userId="ac97bd2d-417e-4a11-b74b-00b05f861710" providerId="ADAL" clId="{E9774D7C-85F7-4686-8F40-B6D40202A80B}" dt="2022-09-20T11:16:23.799" v="13604"/>
          <ac:spMkLst>
            <pc:docMk/>
            <pc:sldMasterMk cId="3333494721" sldId="2147483648"/>
            <ac:spMk id="2" creationId="{00000000-0000-0000-0000-000000000000}"/>
          </ac:spMkLst>
        </pc:spChg>
        <pc:spChg chg="mod">
          <ac:chgData name="Berit Gravdahl" userId="ac97bd2d-417e-4a11-b74b-00b05f861710" providerId="ADAL" clId="{E9774D7C-85F7-4686-8F40-B6D40202A80B}" dt="2022-09-20T11:16:23.799" v="13604"/>
          <ac:spMkLst>
            <pc:docMk/>
            <pc:sldMasterMk cId="3333494721" sldId="2147483648"/>
            <ac:spMk id="3" creationId="{00000000-0000-0000-0000-000000000000}"/>
          </ac:spMkLst>
        </pc:spChg>
        <pc:spChg chg="mod">
          <ac:chgData name="Berit Gravdahl" userId="ac97bd2d-417e-4a11-b74b-00b05f861710" providerId="ADAL" clId="{E9774D7C-85F7-4686-8F40-B6D40202A80B}" dt="2022-09-20T11:16:23.799" v="13604"/>
          <ac:spMkLst>
            <pc:docMk/>
            <pc:sldMasterMk cId="3333494721" sldId="2147483648"/>
            <ac:spMk id="5" creationId="{00000000-0000-0000-0000-000000000000}"/>
          </ac:spMkLst>
        </pc:spChg>
        <pc:spChg chg="mod">
          <ac:chgData name="Berit Gravdahl" userId="ac97bd2d-417e-4a11-b74b-00b05f861710" providerId="ADAL" clId="{E9774D7C-85F7-4686-8F40-B6D40202A80B}" dt="2022-09-20T11:16:23.799" v="13604"/>
          <ac:spMkLst>
            <pc:docMk/>
            <pc:sldMasterMk cId="3333494721" sldId="2147483648"/>
            <ac:spMk id="6" creationId="{00000000-0000-0000-0000-000000000000}"/>
          </ac:spMkLst>
        </pc:spChg>
        <pc:graphicFrameChg chg="mod">
          <ac:chgData name="Berit Gravdahl" userId="ac97bd2d-417e-4a11-b74b-00b05f861710" providerId="ADAL" clId="{E9774D7C-85F7-4686-8F40-B6D40202A80B}" dt="2022-09-20T11:16:23.799" v="13604"/>
          <ac:graphicFrameMkLst>
            <pc:docMk/>
            <pc:sldMasterMk cId="3333494721" sldId="2147483648"/>
            <ac:graphicFrameMk id="8" creationId="{00000000-0000-0000-0000-000000000000}"/>
          </ac:graphicFrameMkLst>
        </pc:graphicFrameChg>
        <pc:picChg chg="mod">
          <ac:chgData name="Berit Gravdahl" userId="ac97bd2d-417e-4a11-b74b-00b05f861710" providerId="ADAL" clId="{E9774D7C-85F7-4686-8F40-B6D40202A80B}" dt="2022-09-20T11:16:23.799" v="13604"/>
          <ac:picMkLst>
            <pc:docMk/>
            <pc:sldMasterMk cId="3333494721" sldId="2147483648"/>
            <ac:picMk id="4113" creationId="{00000000-0000-0000-0000-000000000000}"/>
          </ac:picMkLst>
        </pc:picChg>
        <pc:cxnChg chg="mod">
          <ac:chgData name="Berit Gravdahl" userId="ac97bd2d-417e-4a11-b74b-00b05f861710" providerId="ADAL" clId="{E9774D7C-85F7-4686-8F40-B6D40202A80B}" dt="2022-09-20T11:16:23.799" v="13604"/>
          <ac:cxnSpMkLst>
            <pc:docMk/>
            <pc:sldMasterMk cId="3333494721" sldId="2147483648"/>
            <ac:cxnSpMk id="9" creationId="{C12063B5-44BE-4B7F-A3C7-87A35F83A6CD}"/>
          </ac:cxnSpMkLst>
        </pc:cxnChg>
        <pc:sldLayoutChg chg="modSp">
          <pc:chgData name="Berit Gravdahl" userId="ac97bd2d-417e-4a11-b74b-00b05f861710" providerId="ADAL" clId="{E9774D7C-85F7-4686-8F40-B6D40202A80B}" dt="2022-09-20T11:16:23.799" v="13604"/>
          <pc:sldLayoutMkLst>
            <pc:docMk/>
            <pc:sldMasterMk cId="3333494721" sldId="2147483648"/>
            <pc:sldLayoutMk cId="649218505" sldId="2147483649"/>
          </pc:sldLayoutMkLst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649218505" sldId="2147483649"/>
              <ac:spMk id="2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649218505" sldId="2147483649"/>
              <ac:spMk id="3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649218505" sldId="2147483649"/>
              <ac:spMk id="9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649218505" sldId="2147483649"/>
              <ac:spMk id="14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649218505" sldId="2147483649"/>
              <ac:spMk id="15" creationId="{00000000-0000-0000-0000-000000000000}"/>
            </ac:spMkLst>
          </pc:spChg>
          <pc:graphicFrameChg chg="mod">
            <ac:chgData name="Berit Gravdahl" userId="ac97bd2d-417e-4a11-b74b-00b05f861710" providerId="ADAL" clId="{E9774D7C-85F7-4686-8F40-B6D40202A80B}" dt="2022-09-20T11:16:23.799" v="13604"/>
            <ac:graphicFrameMkLst>
              <pc:docMk/>
              <pc:sldMasterMk cId="3333494721" sldId="2147483648"/>
              <pc:sldLayoutMk cId="649218505" sldId="2147483649"/>
              <ac:graphicFrameMk id="10" creationId="{00000000-0000-0000-0000-000000000000}"/>
            </ac:graphicFrameMkLst>
          </pc:graphicFrameChg>
          <pc:picChg chg="mod">
            <ac:chgData name="Berit Gravdahl" userId="ac97bd2d-417e-4a11-b74b-00b05f861710" providerId="ADAL" clId="{E9774D7C-85F7-4686-8F40-B6D40202A80B}" dt="2022-09-20T11:16:23.799" v="13604"/>
            <ac:picMkLst>
              <pc:docMk/>
              <pc:sldMasterMk cId="3333494721" sldId="2147483648"/>
              <pc:sldLayoutMk cId="649218505" sldId="2147483649"/>
              <ac:picMk id="12" creationId="{00000000-0000-0000-0000-000000000000}"/>
            </ac:picMkLst>
          </pc:picChg>
          <pc:picChg chg="mod">
            <ac:chgData name="Berit Gravdahl" userId="ac97bd2d-417e-4a11-b74b-00b05f861710" providerId="ADAL" clId="{E9774D7C-85F7-4686-8F40-B6D40202A80B}" dt="2022-09-20T11:16:23.799" v="13604"/>
            <ac:picMkLst>
              <pc:docMk/>
              <pc:sldMasterMk cId="3333494721" sldId="2147483648"/>
              <pc:sldLayoutMk cId="649218505" sldId="2147483649"/>
              <ac:picMk id="13" creationId="{00000000-0000-0000-0000-000000000000}"/>
            </ac:picMkLst>
          </pc:picChg>
        </pc:sldLayoutChg>
        <pc:sldLayoutChg chg="modSp">
          <pc:chgData name="Berit Gravdahl" userId="ac97bd2d-417e-4a11-b74b-00b05f861710" providerId="ADAL" clId="{E9774D7C-85F7-4686-8F40-B6D40202A80B}" dt="2022-09-20T11:16:23.799" v="13604"/>
          <pc:sldLayoutMkLst>
            <pc:docMk/>
            <pc:sldMasterMk cId="3333494721" sldId="2147483648"/>
            <pc:sldLayoutMk cId="1864668314" sldId="2147483650"/>
          </pc:sldLayoutMkLst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1864668314" sldId="2147483650"/>
              <ac:spMk id="7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1864668314" sldId="2147483650"/>
              <ac:spMk id="8" creationId="{00000000-0000-0000-0000-000000000000}"/>
            </ac:spMkLst>
          </pc:spChg>
          <pc:cxnChg chg="mod">
            <ac:chgData name="Berit Gravdahl" userId="ac97bd2d-417e-4a11-b74b-00b05f861710" providerId="ADAL" clId="{E9774D7C-85F7-4686-8F40-B6D40202A80B}" dt="2022-09-20T11:16:23.799" v="13604"/>
            <ac:cxnSpMkLst>
              <pc:docMk/>
              <pc:sldMasterMk cId="3333494721" sldId="2147483648"/>
              <pc:sldLayoutMk cId="1864668314" sldId="2147483650"/>
              <ac:cxnSpMk id="6" creationId="{A090F62F-8BE3-4273-86D9-4BF80451A195}"/>
            </ac:cxnSpMkLst>
          </pc:cxnChg>
        </pc:sldLayoutChg>
        <pc:sldLayoutChg chg="modSp">
          <pc:chgData name="Berit Gravdahl" userId="ac97bd2d-417e-4a11-b74b-00b05f861710" providerId="ADAL" clId="{E9774D7C-85F7-4686-8F40-B6D40202A80B}" dt="2022-09-20T11:16:23.799" v="13604"/>
          <pc:sldLayoutMkLst>
            <pc:docMk/>
            <pc:sldMasterMk cId="3333494721" sldId="2147483648"/>
            <pc:sldLayoutMk cId="1620171766" sldId="2147483652"/>
          </pc:sldLayoutMkLst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1620171766" sldId="2147483652"/>
              <ac:spMk id="3" creationId="{C88685B7-236B-4D85-A0B9-DD2D1AFAF474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1620171766" sldId="2147483652"/>
              <ac:spMk id="4" creationId="{55ACCC28-D7A6-4681-A7BB-AE07A11B7475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1620171766" sldId="2147483652"/>
              <ac:spMk id="8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1620171766" sldId="2147483652"/>
              <ac:spMk id="9" creationId="{00000000-0000-0000-0000-000000000000}"/>
            </ac:spMkLst>
          </pc:spChg>
          <pc:cxnChg chg="mod">
            <ac:chgData name="Berit Gravdahl" userId="ac97bd2d-417e-4a11-b74b-00b05f861710" providerId="ADAL" clId="{E9774D7C-85F7-4686-8F40-B6D40202A80B}" dt="2022-09-20T11:16:23.799" v="13604"/>
            <ac:cxnSpMkLst>
              <pc:docMk/>
              <pc:sldMasterMk cId="3333494721" sldId="2147483648"/>
              <pc:sldLayoutMk cId="1620171766" sldId="2147483652"/>
              <ac:cxnSpMk id="7" creationId="{287A22EE-51A7-41D5-A5F5-517996FE582B}"/>
            </ac:cxnSpMkLst>
          </pc:cxnChg>
        </pc:sldLayoutChg>
        <pc:sldLayoutChg chg="modSp">
          <pc:chgData name="Berit Gravdahl" userId="ac97bd2d-417e-4a11-b74b-00b05f861710" providerId="ADAL" clId="{E9774D7C-85F7-4686-8F40-B6D40202A80B}" dt="2022-09-20T11:16:23.799" v="13604"/>
          <pc:sldLayoutMkLst>
            <pc:docMk/>
            <pc:sldMasterMk cId="3333494721" sldId="2147483648"/>
            <pc:sldLayoutMk cId="3684563159" sldId="2147483654"/>
          </pc:sldLayoutMkLst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3684563159" sldId="2147483654"/>
              <ac:spMk id="6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3684563159" sldId="2147483654"/>
              <ac:spMk id="9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3684563159" sldId="2147483654"/>
              <ac:spMk id="10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3684563159" sldId="2147483654"/>
              <ac:spMk id="11" creationId="{62658484-5ED9-4D49-9495-76895E129777}"/>
            </ac:spMkLst>
          </pc:spChg>
          <pc:graphicFrameChg chg="mod">
            <ac:chgData name="Berit Gravdahl" userId="ac97bd2d-417e-4a11-b74b-00b05f861710" providerId="ADAL" clId="{E9774D7C-85F7-4686-8F40-B6D40202A80B}" dt="2022-09-20T11:16:23.799" v="13604"/>
            <ac:graphicFrameMkLst>
              <pc:docMk/>
              <pc:sldMasterMk cId="3333494721" sldId="2147483648"/>
              <pc:sldLayoutMk cId="3684563159" sldId="2147483654"/>
              <ac:graphicFrameMk id="7" creationId="{00000000-0000-0000-0000-000000000000}"/>
            </ac:graphicFrameMkLst>
          </pc:graphicFrameChg>
        </pc:sldLayoutChg>
        <pc:sldLayoutChg chg="modSp">
          <pc:chgData name="Berit Gravdahl" userId="ac97bd2d-417e-4a11-b74b-00b05f861710" providerId="ADAL" clId="{E9774D7C-85F7-4686-8F40-B6D40202A80B}" dt="2022-09-20T11:16:23.799" v="13604"/>
          <pc:sldLayoutMkLst>
            <pc:docMk/>
            <pc:sldMasterMk cId="3333494721" sldId="2147483648"/>
            <pc:sldLayoutMk cId="845265224" sldId="2147483655"/>
          </pc:sldLayoutMkLst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845265224" sldId="2147483655"/>
              <ac:spMk id="5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845265224" sldId="2147483655"/>
              <ac:spMk id="6" creationId="{00000000-0000-0000-0000-000000000000}"/>
            </ac:spMkLst>
          </pc:spChg>
        </pc:sldLayoutChg>
        <pc:sldLayoutChg chg="modSp">
          <pc:chgData name="Berit Gravdahl" userId="ac97bd2d-417e-4a11-b74b-00b05f861710" providerId="ADAL" clId="{E9774D7C-85F7-4686-8F40-B6D40202A80B}" dt="2022-09-20T11:16:23.799" v="13604"/>
          <pc:sldLayoutMkLst>
            <pc:docMk/>
            <pc:sldMasterMk cId="3333494721" sldId="2147483648"/>
            <pc:sldLayoutMk cId="2168981580" sldId="2147483660"/>
          </pc:sldLayoutMkLst>
          <pc:picChg chg="mod">
            <ac:chgData name="Berit Gravdahl" userId="ac97bd2d-417e-4a11-b74b-00b05f861710" providerId="ADAL" clId="{E9774D7C-85F7-4686-8F40-B6D40202A80B}" dt="2022-09-20T11:16:23.799" v="13604"/>
            <ac:picMkLst>
              <pc:docMk/>
              <pc:sldMasterMk cId="3333494721" sldId="2147483648"/>
              <pc:sldLayoutMk cId="2168981580" sldId="2147483660"/>
              <ac:picMk id="2" creationId="{00000000-0000-0000-0000-000000000000}"/>
            </ac:picMkLst>
          </pc:picChg>
        </pc:sldLayoutChg>
        <pc:sldLayoutChg chg="modSp">
          <pc:chgData name="Berit Gravdahl" userId="ac97bd2d-417e-4a11-b74b-00b05f861710" providerId="ADAL" clId="{E9774D7C-85F7-4686-8F40-B6D40202A80B}" dt="2022-09-20T11:16:23.799" v="13604"/>
          <pc:sldLayoutMkLst>
            <pc:docMk/>
            <pc:sldMasterMk cId="3333494721" sldId="2147483648"/>
            <pc:sldLayoutMk cId="1161046991" sldId="2147483661"/>
          </pc:sldLayoutMkLst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1161046991" sldId="2147483661"/>
              <ac:spMk id="2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1161046991" sldId="2147483661"/>
              <ac:spMk id="3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1161046991" sldId="2147483661"/>
              <ac:spMk id="9" creationId="{00000000-0000-0000-0000-000000000000}"/>
            </ac:spMkLst>
          </pc:spChg>
          <pc:graphicFrameChg chg="mod">
            <ac:chgData name="Berit Gravdahl" userId="ac97bd2d-417e-4a11-b74b-00b05f861710" providerId="ADAL" clId="{E9774D7C-85F7-4686-8F40-B6D40202A80B}" dt="2022-09-20T11:16:23.799" v="13604"/>
            <ac:graphicFrameMkLst>
              <pc:docMk/>
              <pc:sldMasterMk cId="3333494721" sldId="2147483648"/>
              <pc:sldLayoutMk cId="1161046991" sldId="2147483661"/>
              <ac:graphicFrameMk id="10" creationId="{00000000-0000-0000-0000-000000000000}"/>
            </ac:graphicFrameMkLst>
          </pc:graphicFrameChg>
          <pc:picChg chg="mod">
            <ac:chgData name="Berit Gravdahl" userId="ac97bd2d-417e-4a11-b74b-00b05f861710" providerId="ADAL" clId="{E9774D7C-85F7-4686-8F40-B6D40202A80B}" dt="2022-09-20T11:16:23.799" v="13604"/>
            <ac:picMkLst>
              <pc:docMk/>
              <pc:sldMasterMk cId="3333494721" sldId="2147483648"/>
              <pc:sldLayoutMk cId="1161046991" sldId="2147483661"/>
              <ac:picMk id="11" creationId="{00000000-0000-0000-0000-000000000000}"/>
            </ac:picMkLst>
          </pc:picChg>
          <pc:picChg chg="mod">
            <ac:chgData name="Berit Gravdahl" userId="ac97bd2d-417e-4a11-b74b-00b05f861710" providerId="ADAL" clId="{E9774D7C-85F7-4686-8F40-B6D40202A80B}" dt="2022-09-20T11:16:23.799" v="13604"/>
            <ac:picMkLst>
              <pc:docMk/>
              <pc:sldMasterMk cId="3333494721" sldId="2147483648"/>
              <pc:sldLayoutMk cId="1161046991" sldId="2147483661"/>
              <ac:picMk id="12" creationId="{00000000-0000-0000-0000-000000000000}"/>
            </ac:picMkLst>
          </pc:picChg>
        </pc:sldLayoutChg>
        <pc:sldLayoutChg chg="modSp">
          <pc:chgData name="Berit Gravdahl" userId="ac97bd2d-417e-4a11-b74b-00b05f861710" providerId="ADAL" clId="{E9774D7C-85F7-4686-8F40-B6D40202A80B}" dt="2022-09-20T11:16:23.799" v="13604"/>
          <pc:sldLayoutMkLst>
            <pc:docMk/>
            <pc:sldMasterMk cId="3333494721" sldId="2147483648"/>
            <pc:sldLayoutMk cId="4194890864" sldId="2147483662"/>
          </pc:sldLayoutMkLst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4194890864" sldId="2147483662"/>
              <ac:spMk id="2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4194890864" sldId="2147483662"/>
              <ac:spMk id="3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4194890864" sldId="2147483662"/>
              <ac:spMk id="9" creationId="{00000000-0000-0000-0000-000000000000}"/>
            </ac:spMkLst>
          </pc:spChg>
          <pc:graphicFrameChg chg="mod">
            <ac:chgData name="Berit Gravdahl" userId="ac97bd2d-417e-4a11-b74b-00b05f861710" providerId="ADAL" clId="{E9774D7C-85F7-4686-8F40-B6D40202A80B}" dt="2022-09-20T11:16:23.799" v="13604"/>
            <ac:graphicFrameMkLst>
              <pc:docMk/>
              <pc:sldMasterMk cId="3333494721" sldId="2147483648"/>
              <pc:sldLayoutMk cId="4194890864" sldId="2147483662"/>
              <ac:graphicFrameMk id="10" creationId="{00000000-0000-0000-0000-000000000000}"/>
            </ac:graphicFrameMkLst>
          </pc:graphicFrameChg>
          <pc:picChg chg="mod">
            <ac:chgData name="Berit Gravdahl" userId="ac97bd2d-417e-4a11-b74b-00b05f861710" providerId="ADAL" clId="{E9774D7C-85F7-4686-8F40-B6D40202A80B}" dt="2022-09-20T11:16:23.799" v="13604"/>
            <ac:picMkLst>
              <pc:docMk/>
              <pc:sldMasterMk cId="3333494721" sldId="2147483648"/>
              <pc:sldLayoutMk cId="4194890864" sldId="2147483662"/>
              <ac:picMk id="11" creationId="{00000000-0000-0000-0000-000000000000}"/>
            </ac:picMkLst>
          </pc:picChg>
          <pc:picChg chg="mod">
            <ac:chgData name="Berit Gravdahl" userId="ac97bd2d-417e-4a11-b74b-00b05f861710" providerId="ADAL" clId="{E9774D7C-85F7-4686-8F40-B6D40202A80B}" dt="2022-09-20T11:16:23.799" v="13604"/>
            <ac:picMkLst>
              <pc:docMk/>
              <pc:sldMasterMk cId="3333494721" sldId="2147483648"/>
              <pc:sldLayoutMk cId="4194890864" sldId="2147483662"/>
              <ac:picMk id="12" creationId="{00000000-0000-0000-0000-000000000000}"/>
            </ac:picMkLst>
          </pc:picChg>
        </pc:sldLayoutChg>
        <pc:sldLayoutChg chg="modSp">
          <pc:chgData name="Berit Gravdahl" userId="ac97bd2d-417e-4a11-b74b-00b05f861710" providerId="ADAL" clId="{E9774D7C-85F7-4686-8F40-B6D40202A80B}" dt="2022-09-20T11:16:23.799" v="13604"/>
          <pc:sldLayoutMkLst>
            <pc:docMk/>
            <pc:sldMasterMk cId="3333494721" sldId="2147483648"/>
            <pc:sldLayoutMk cId="1894618124" sldId="2147483663"/>
          </pc:sldLayoutMkLst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1894618124" sldId="2147483663"/>
              <ac:spMk id="2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1894618124" sldId="2147483663"/>
              <ac:spMk id="3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1894618124" sldId="2147483663"/>
              <ac:spMk id="4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1894618124" sldId="2147483663"/>
              <ac:spMk id="6" creationId="{00000000-0000-0000-0000-000000000000}"/>
            </ac:spMkLst>
          </pc:spChg>
          <pc:picChg chg="mod">
            <ac:chgData name="Berit Gravdahl" userId="ac97bd2d-417e-4a11-b74b-00b05f861710" providerId="ADAL" clId="{E9774D7C-85F7-4686-8F40-B6D40202A80B}" dt="2022-09-20T11:16:23.799" v="13604"/>
            <ac:picMkLst>
              <pc:docMk/>
              <pc:sldMasterMk cId="3333494721" sldId="2147483648"/>
              <pc:sldLayoutMk cId="1894618124" sldId="2147483663"/>
              <ac:picMk id="5" creationId="{00000000-0000-0000-0000-000000000000}"/>
            </ac:picMkLst>
          </pc:picChg>
          <pc:picChg chg="mod">
            <ac:chgData name="Berit Gravdahl" userId="ac97bd2d-417e-4a11-b74b-00b05f861710" providerId="ADAL" clId="{E9774D7C-85F7-4686-8F40-B6D40202A80B}" dt="2022-09-20T11:16:23.799" v="13604"/>
            <ac:picMkLst>
              <pc:docMk/>
              <pc:sldMasterMk cId="3333494721" sldId="2147483648"/>
              <pc:sldLayoutMk cId="1894618124" sldId="2147483663"/>
              <ac:picMk id="7" creationId="{00000000-0000-0000-0000-000000000000}"/>
            </ac:picMkLst>
          </pc:picChg>
          <pc:picChg chg="mod">
            <ac:chgData name="Berit Gravdahl" userId="ac97bd2d-417e-4a11-b74b-00b05f861710" providerId="ADAL" clId="{E9774D7C-85F7-4686-8F40-B6D40202A80B}" dt="2022-09-20T11:16:23.799" v="13604"/>
            <ac:picMkLst>
              <pc:docMk/>
              <pc:sldMasterMk cId="3333494721" sldId="2147483648"/>
              <pc:sldLayoutMk cId="1894618124" sldId="2147483663"/>
              <ac:picMk id="8" creationId="{00000000-0000-0000-0000-000000000000}"/>
            </ac:picMkLst>
          </pc:picChg>
        </pc:sldLayoutChg>
        <pc:sldLayoutChg chg="modSp">
          <pc:chgData name="Berit Gravdahl" userId="ac97bd2d-417e-4a11-b74b-00b05f861710" providerId="ADAL" clId="{E9774D7C-85F7-4686-8F40-B6D40202A80B}" dt="2022-09-20T11:16:23.799" v="13604"/>
          <pc:sldLayoutMkLst>
            <pc:docMk/>
            <pc:sldMasterMk cId="3333494721" sldId="2147483648"/>
            <pc:sldLayoutMk cId="899461186" sldId="2147483665"/>
          </pc:sldLayoutMkLst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899461186" sldId="2147483665"/>
              <ac:spMk id="3" creationId="{D0B73090-0C3F-471A-938A-B986999B7413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899461186" sldId="2147483665"/>
              <ac:spMk id="6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899461186" sldId="2147483665"/>
              <ac:spMk id="9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899461186" sldId="2147483665"/>
              <ac:spMk id="10" creationId="{00000000-0000-0000-0000-000000000000}"/>
            </ac:spMkLst>
          </pc:spChg>
          <pc:graphicFrameChg chg="mod">
            <ac:chgData name="Berit Gravdahl" userId="ac97bd2d-417e-4a11-b74b-00b05f861710" providerId="ADAL" clId="{E9774D7C-85F7-4686-8F40-B6D40202A80B}" dt="2022-09-20T11:16:23.799" v="13604"/>
            <ac:graphicFrameMkLst>
              <pc:docMk/>
              <pc:sldMasterMk cId="3333494721" sldId="2147483648"/>
              <pc:sldLayoutMk cId="899461186" sldId="2147483665"/>
              <ac:graphicFrameMk id="7" creationId="{00000000-0000-0000-0000-000000000000}"/>
            </ac:graphicFrameMkLst>
          </pc:graphicFrameChg>
        </pc:sldLayoutChg>
        <pc:sldLayoutChg chg="modSp">
          <pc:chgData name="Berit Gravdahl" userId="ac97bd2d-417e-4a11-b74b-00b05f861710" providerId="ADAL" clId="{E9774D7C-85F7-4686-8F40-B6D40202A80B}" dt="2022-09-20T11:16:23.799" v="13604"/>
          <pc:sldLayoutMkLst>
            <pc:docMk/>
            <pc:sldMasterMk cId="3333494721" sldId="2147483648"/>
            <pc:sldLayoutMk cId="1620171766" sldId="2147483667"/>
          </pc:sldLayoutMkLst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1620171766" sldId="2147483667"/>
              <ac:spMk id="3" creationId="{4C6D5767-323F-42B0-86D3-3DE8334B127F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1620171766" sldId="2147483667"/>
              <ac:spMk id="8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1620171766" sldId="2147483667"/>
              <ac:spMk id="9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1620171766" sldId="2147483667"/>
              <ac:spMk id="14" creationId="{00000000-0000-0000-0000-000000000000}"/>
            </ac:spMkLst>
          </pc:spChg>
          <pc:cxnChg chg="mod">
            <ac:chgData name="Berit Gravdahl" userId="ac97bd2d-417e-4a11-b74b-00b05f861710" providerId="ADAL" clId="{E9774D7C-85F7-4686-8F40-B6D40202A80B}" dt="2022-09-20T11:16:23.799" v="13604"/>
            <ac:cxnSpMkLst>
              <pc:docMk/>
              <pc:sldMasterMk cId="3333494721" sldId="2147483648"/>
              <pc:sldLayoutMk cId="1620171766" sldId="2147483667"/>
              <ac:cxnSpMk id="7" creationId="{ABA8F288-1075-4BC3-82F7-D8C2DD761409}"/>
            </ac:cxnSpMkLst>
          </pc:cxnChg>
        </pc:sldLayoutChg>
        <pc:sldLayoutChg chg="modSp">
          <pc:chgData name="Berit Gravdahl" userId="ac97bd2d-417e-4a11-b74b-00b05f861710" providerId="ADAL" clId="{E9774D7C-85F7-4686-8F40-B6D40202A80B}" dt="2022-09-20T11:16:23.799" v="13604"/>
          <pc:sldLayoutMkLst>
            <pc:docMk/>
            <pc:sldMasterMk cId="3333494721" sldId="2147483648"/>
            <pc:sldLayoutMk cId="1620171766" sldId="2147483668"/>
          </pc:sldLayoutMkLst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1620171766" sldId="2147483668"/>
              <ac:spMk id="3" creationId="{FAB128F4-59B1-412B-97B1-00593FD31E55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1620171766" sldId="2147483668"/>
              <ac:spMk id="8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1620171766" sldId="2147483668"/>
              <ac:spMk id="9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1620171766" sldId="2147483668"/>
              <ac:spMk id="14" creationId="{00000000-0000-0000-0000-000000000000}"/>
            </ac:spMkLst>
          </pc:spChg>
          <pc:cxnChg chg="mod">
            <ac:chgData name="Berit Gravdahl" userId="ac97bd2d-417e-4a11-b74b-00b05f861710" providerId="ADAL" clId="{E9774D7C-85F7-4686-8F40-B6D40202A80B}" dt="2022-09-20T11:16:23.799" v="13604"/>
            <ac:cxnSpMkLst>
              <pc:docMk/>
              <pc:sldMasterMk cId="3333494721" sldId="2147483648"/>
              <pc:sldLayoutMk cId="1620171766" sldId="2147483668"/>
              <ac:cxnSpMk id="7" creationId="{B58770B7-9EDB-4CCA-9D6C-C382B8529ED8}"/>
            </ac:cxnSpMkLst>
          </pc:cxnChg>
        </pc:sldLayoutChg>
        <pc:sldLayoutChg chg="modSp">
          <pc:chgData name="Berit Gravdahl" userId="ac97bd2d-417e-4a11-b74b-00b05f861710" providerId="ADAL" clId="{E9774D7C-85F7-4686-8F40-B6D40202A80B}" dt="2022-09-20T11:16:23.799" v="13604"/>
          <pc:sldLayoutMkLst>
            <pc:docMk/>
            <pc:sldMasterMk cId="3333494721" sldId="2147483648"/>
            <pc:sldLayoutMk cId="3309145013" sldId="2147483669"/>
          </pc:sldLayoutMkLst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3309145013" sldId="2147483669"/>
              <ac:spMk id="5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3309145013" sldId="2147483669"/>
              <ac:spMk id="7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3309145013" sldId="2147483669"/>
              <ac:spMk id="8" creationId="{00000000-0000-0000-0000-000000000000}"/>
            </ac:spMkLst>
          </pc:spChg>
          <pc:cxnChg chg="mod">
            <ac:chgData name="Berit Gravdahl" userId="ac97bd2d-417e-4a11-b74b-00b05f861710" providerId="ADAL" clId="{E9774D7C-85F7-4686-8F40-B6D40202A80B}" dt="2022-09-20T11:16:23.799" v="13604"/>
            <ac:cxnSpMkLst>
              <pc:docMk/>
              <pc:sldMasterMk cId="3333494721" sldId="2147483648"/>
              <pc:sldLayoutMk cId="3309145013" sldId="2147483669"/>
              <ac:cxnSpMk id="6" creationId="{879426E6-6AAB-4973-8DAC-DBD67B9FE6BE}"/>
            </ac:cxnSpMkLst>
          </pc:cxnChg>
        </pc:sldLayoutChg>
        <pc:sldLayoutChg chg="modSp">
          <pc:chgData name="Berit Gravdahl" userId="ac97bd2d-417e-4a11-b74b-00b05f861710" providerId="ADAL" clId="{E9774D7C-85F7-4686-8F40-B6D40202A80B}" dt="2022-09-20T11:16:23.799" v="13604"/>
          <pc:sldLayoutMkLst>
            <pc:docMk/>
            <pc:sldMasterMk cId="3333494721" sldId="2147483648"/>
            <pc:sldLayoutMk cId="1221025308" sldId="2147483670"/>
          </pc:sldLayoutMkLst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1221025308" sldId="2147483670"/>
              <ac:spMk id="5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1221025308" sldId="2147483670"/>
              <ac:spMk id="7" creationId="{00000000-0000-0000-0000-000000000000}"/>
            </ac:spMkLst>
          </pc:spChg>
          <pc:spChg chg="mod">
            <ac:chgData name="Berit Gravdahl" userId="ac97bd2d-417e-4a11-b74b-00b05f861710" providerId="ADAL" clId="{E9774D7C-85F7-4686-8F40-B6D40202A80B}" dt="2022-09-20T11:16:23.799" v="13604"/>
            <ac:spMkLst>
              <pc:docMk/>
              <pc:sldMasterMk cId="3333494721" sldId="2147483648"/>
              <pc:sldLayoutMk cId="1221025308" sldId="2147483670"/>
              <ac:spMk id="8" creationId="{00000000-0000-0000-0000-000000000000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484211-51D6-4B30-9E20-B2557B98D69E}" type="datetimeFigureOut">
              <a:rPr lang="nb-NO" smtClean="0"/>
              <a:t>26.09.2022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D5226A-8209-4CC7-8378-821D4986FB0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0842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D5226A-8209-4CC7-8378-821D4986FB03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604014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800" dirty="0">
              <a:effectLst/>
              <a:latin typeface="+mn-lt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D5226A-8209-4CC7-8378-821D4986FB03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851131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/>
          </a:bodyPr>
          <a:lstStyle/>
          <a:p>
            <a:endParaRPr lang="nb-NO" dirty="0">
              <a:latin typeface="+mn-lt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D5226A-8209-4CC7-8378-821D4986FB03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165497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pPr marL="0" indent="0">
              <a:buFont typeface="Arial" panose="020B0604020202020204" pitchFamily="34" charset="0"/>
              <a:buNone/>
            </a:pPr>
            <a:endParaRPr lang="nb-NO" dirty="0">
              <a:latin typeface="+mn-lt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D5226A-8209-4CC7-8378-821D4986FB03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980491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endParaRPr lang="nb-NO" dirty="0">
              <a:latin typeface="+mn-lt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D5226A-8209-4CC7-8378-821D4986FB03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6769531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D5226A-8209-4CC7-8378-821D4986FB03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448296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D5226A-8209-4CC7-8378-821D4986FB03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230378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b="1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D5226A-8209-4CC7-8378-821D4986FB03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131810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D5226A-8209-4CC7-8378-821D4986FB03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127680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latin typeface="+mn-lt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D5226A-8209-4CC7-8378-821D4986FB03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804695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endParaRPr lang="nb-NO" sz="1200" b="1" dirty="0">
              <a:effectLst/>
              <a:latin typeface="+mn-lt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D5226A-8209-4CC7-8378-821D4986FB03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5528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 dirty="0">
              <a:latin typeface="+mn-lt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D5226A-8209-4CC7-8378-821D4986FB03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713261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nb-NO" sz="1200" dirty="0">
              <a:effectLst/>
              <a:latin typeface="+mn-lt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D5226A-8209-4CC7-8378-821D4986FB03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998289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Font typeface="Arial" panose="020B0604020202020204" pitchFamily="34" charset="0"/>
              <a:buNone/>
            </a:pPr>
            <a:endParaRPr lang="nb-NO" dirty="0">
              <a:latin typeface="+mn-lt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D5226A-8209-4CC7-8378-821D4986FB03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689368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Relationship Id="rId9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Relationship Id="rId9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animasjon">
    <p:bg>
      <p:bgPr>
        <a:solidFill>
          <a:srgbClr val="FCFC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UDI_logo_anim.wmv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857250"/>
            <a:ext cx="12192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89815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0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rkelbilde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bunntekst 2"/>
          <p:cNvSpPr>
            <a:spLocks noGrp="1"/>
          </p:cNvSpPr>
          <p:nvPr>
            <p:ph type="ftr" sz="quarter" idx="10"/>
          </p:nvPr>
        </p:nvSpPr>
        <p:spPr>
          <a:xfrm>
            <a:off x="1871531" y="6265280"/>
            <a:ext cx="6528725" cy="276999"/>
          </a:xfrm>
        </p:spPr>
        <p:txBody>
          <a:bodyPr/>
          <a:lstStyle/>
          <a:p>
            <a:endParaRPr lang="nb-NO"/>
          </a:p>
        </p:txBody>
      </p:sp>
      <p:sp>
        <p:nvSpPr>
          <p:cNvPr id="9" name="Plassholder for lysbildenummer 3"/>
          <p:cNvSpPr>
            <a:spLocks noGrp="1"/>
          </p:cNvSpPr>
          <p:nvPr>
            <p:ph type="sldNum" sz="quarter" idx="11"/>
          </p:nvPr>
        </p:nvSpPr>
        <p:spPr>
          <a:xfrm>
            <a:off x="8507200" y="6265280"/>
            <a:ext cx="2844800" cy="276999"/>
          </a:xfrm>
        </p:spPr>
        <p:txBody>
          <a:bodyPr/>
          <a:lstStyle/>
          <a:p>
            <a:fld id="{BB087720-8024-4DD6-978D-6C7F11933EA5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4" name="Plassholder for bilde 13"/>
          <p:cNvSpPr>
            <a:spLocks noGrp="1"/>
          </p:cNvSpPr>
          <p:nvPr>
            <p:ph type="pic" sz="quarter" idx="13" hasCustomPrompt="1"/>
          </p:nvPr>
        </p:nvSpPr>
        <p:spPr>
          <a:xfrm>
            <a:off x="840000" y="1537200"/>
            <a:ext cx="5102400" cy="3826800"/>
          </a:xfrm>
          <a:prstGeom prst="ellipse">
            <a:avLst/>
          </a:prstGeom>
        </p:spPr>
        <p:txBody>
          <a:bodyPr tIns="540000"/>
          <a:lstStyle>
            <a:lvl1pPr algn="ctr">
              <a:buNone/>
              <a:defRPr baseline="0"/>
            </a:lvl1pPr>
          </a:lstStyle>
          <a:p>
            <a:r>
              <a:rPr lang="nb-NO"/>
              <a:t>Sett inn bilde</a:t>
            </a:r>
          </a:p>
        </p:txBody>
      </p:sp>
      <p:cxnSp>
        <p:nvCxnSpPr>
          <p:cNvPr id="7" name="Rett linje 6">
            <a:extLst>
              <a:ext uri="{FF2B5EF4-FFF2-40B4-BE49-F238E27FC236}">
                <a16:creationId xmlns:a16="http://schemas.microsoft.com/office/drawing/2014/main" id="{B58770B7-9EDB-4CCA-9D6C-C382B8529ED8}"/>
              </a:ext>
            </a:extLst>
          </p:cNvPr>
          <p:cNvCxnSpPr/>
          <p:nvPr userDrawn="1"/>
        </p:nvCxnSpPr>
        <p:spPr>
          <a:xfrm>
            <a:off x="840000" y="1196752"/>
            <a:ext cx="1051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FAB128F4-59B1-412B-97B1-00593FD31E5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49600" y="1537200"/>
            <a:ext cx="5102400" cy="414000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6201717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llomside g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582396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/>
          <p:cNvSpPr/>
          <p:nvPr userDrawn="1">
            <p:custDataLst>
              <p:tags r:id="rId2"/>
            </p:custDataLst>
          </p:nvPr>
        </p:nvSpPr>
        <p:spPr>
          <a:xfrm>
            <a:off x="504000" y="378000"/>
            <a:ext cx="11184000" cy="5346000"/>
          </a:xfrm>
          <a:prstGeom prst="rect">
            <a:avLst/>
          </a:prstGeom>
          <a:solidFill>
            <a:srgbClr val="FFF0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9" name="Plassholder for bunntekst 2"/>
          <p:cNvSpPr>
            <a:spLocks noGrp="1"/>
          </p:cNvSpPr>
          <p:nvPr>
            <p:ph type="ftr" sz="quarter" idx="10"/>
          </p:nvPr>
        </p:nvSpPr>
        <p:spPr>
          <a:xfrm>
            <a:off x="1871531" y="6265280"/>
            <a:ext cx="6528725" cy="276999"/>
          </a:xfrm>
        </p:spPr>
        <p:txBody>
          <a:bodyPr/>
          <a:lstStyle/>
          <a:p>
            <a:endParaRPr lang="nb-NO"/>
          </a:p>
        </p:txBody>
      </p:sp>
      <p:sp>
        <p:nvSpPr>
          <p:cNvPr id="10" name="Plassholder for lysbildenummer 3"/>
          <p:cNvSpPr>
            <a:spLocks noGrp="1"/>
          </p:cNvSpPr>
          <p:nvPr>
            <p:ph type="sldNum" sz="quarter" idx="11"/>
          </p:nvPr>
        </p:nvSpPr>
        <p:spPr>
          <a:xfrm>
            <a:off x="8507200" y="6265280"/>
            <a:ext cx="2844800" cy="276999"/>
          </a:xfrm>
        </p:spPr>
        <p:txBody>
          <a:bodyPr/>
          <a:lstStyle/>
          <a:p>
            <a:fld id="{BB087720-8024-4DD6-978D-6C7F11933EA5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D0B73090-0C3F-471A-938A-B986999B741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0000" y="565066"/>
            <a:ext cx="10512000" cy="48801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4000"/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8994611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llomside 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654709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7" name="Objek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/>
          <p:cNvSpPr/>
          <p:nvPr userDrawn="1">
            <p:custDataLst>
              <p:tags r:id="rId2"/>
            </p:custDataLst>
          </p:nvPr>
        </p:nvSpPr>
        <p:spPr>
          <a:xfrm>
            <a:off x="504000" y="378000"/>
            <a:ext cx="11184000" cy="5346000"/>
          </a:xfrm>
          <a:prstGeom prst="rect">
            <a:avLst/>
          </a:prstGeom>
          <a:solidFill>
            <a:srgbClr val="267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9" name="Plassholder for bunntekst 2"/>
          <p:cNvSpPr>
            <a:spLocks noGrp="1"/>
          </p:cNvSpPr>
          <p:nvPr>
            <p:ph type="ftr" sz="quarter" idx="10"/>
          </p:nvPr>
        </p:nvSpPr>
        <p:spPr>
          <a:xfrm>
            <a:off x="1871531" y="6265280"/>
            <a:ext cx="6528725" cy="276999"/>
          </a:xfrm>
        </p:spPr>
        <p:txBody>
          <a:bodyPr/>
          <a:lstStyle/>
          <a:p>
            <a:endParaRPr lang="nb-NO"/>
          </a:p>
        </p:txBody>
      </p:sp>
      <p:sp>
        <p:nvSpPr>
          <p:cNvPr id="10" name="Plassholder for lysbildenummer 3"/>
          <p:cNvSpPr>
            <a:spLocks noGrp="1"/>
          </p:cNvSpPr>
          <p:nvPr>
            <p:ph type="sldNum" sz="quarter" idx="11"/>
          </p:nvPr>
        </p:nvSpPr>
        <p:spPr>
          <a:xfrm>
            <a:off x="8507200" y="6265280"/>
            <a:ext cx="2844800" cy="276999"/>
          </a:xfrm>
        </p:spPr>
        <p:txBody>
          <a:bodyPr/>
          <a:lstStyle/>
          <a:p>
            <a:fld id="{BB087720-8024-4DD6-978D-6C7F11933EA5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62658484-5ED9-4D49-9495-76895E12977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40000" y="565066"/>
            <a:ext cx="10512000" cy="48801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6845631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unntekst 2"/>
          <p:cNvSpPr>
            <a:spLocks noGrp="1"/>
          </p:cNvSpPr>
          <p:nvPr>
            <p:ph type="ftr" sz="quarter" idx="10"/>
          </p:nvPr>
        </p:nvSpPr>
        <p:spPr>
          <a:xfrm>
            <a:off x="1871531" y="6265280"/>
            <a:ext cx="6528725" cy="276999"/>
          </a:xfrm>
        </p:spPr>
        <p:txBody>
          <a:bodyPr/>
          <a:lstStyle/>
          <a:p>
            <a:endParaRPr lang="nb-NO"/>
          </a:p>
        </p:txBody>
      </p:sp>
      <p:sp>
        <p:nvSpPr>
          <p:cNvPr id="6" name="Plassholder for lysbildenummer 3"/>
          <p:cNvSpPr>
            <a:spLocks noGrp="1"/>
          </p:cNvSpPr>
          <p:nvPr>
            <p:ph type="sldNum" sz="quarter" idx="11"/>
          </p:nvPr>
        </p:nvSpPr>
        <p:spPr>
          <a:xfrm>
            <a:off x="8507200" y="6265280"/>
            <a:ext cx="2844800" cy="276999"/>
          </a:xfrm>
        </p:spPr>
        <p:txBody>
          <a:bodyPr/>
          <a:lstStyle/>
          <a:p>
            <a:fld id="{BB087720-8024-4DD6-978D-6C7F11933EA5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452652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utt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kstSylinder 2"/>
          <p:cNvSpPr txBox="1"/>
          <p:nvPr userDrawn="1"/>
        </p:nvSpPr>
        <p:spPr>
          <a:xfrm>
            <a:off x="9662963" y="6223824"/>
            <a:ext cx="1364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800" err="1">
                <a:solidFill>
                  <a:srgbClr val="C8373C"/>
                </a:solidFill>
              </a:rPr>
              <a:t>www.udi.no</a:t>
            </a:r>
            <a:endParaRPr lang="nb-NO" sz="1800">
              <a:solidFill>
                <a:srgbClr val="C8373C"/>
              </a:solidFill>
            </a:endParaRPr>
          </a:p>
        </p:txBody>
      </p:sp>
      <p:pic>
        <p:nvPicPr>
          <p:cNvPr id="7" name="Bilde 11" descr="logo_600dpi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" y="0"/>
            <a:ext cx="2267716" cy="1069850"/>
          </a:xfrm>
          <a:prstGeom prst="rect">
            <a:avLst/>
          </a:prstGeom>
        </p:spPr>
      </p:pic>
      <p:pic>
        <p:nvPicPr>
          <p:cNvPr id="8" name="Bilde 12" descr="tekst_bunn_600dpi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4234" y="5961886"/>
            <a:ext cx="2743205" cy="896114"/>
          </a:xfrm>
          <a:prstGeom prst="rect">
            <a:avLst/>
          </a:prstGeom>
        </p:spPr>
      </p:pic>
      <p:sp>
        <p:nvSpPr>
          <p:cNvPr id="2" name="Plassholder for bunntekst 1"/>
          <p:cNvSpPr>
            <a:spLocks noGrp="1"/>
          </p:cNvSpPr>
          <p:nvPr>
            <p:ph type="ftr" sz="quarter" idx="10"/>
          </p:nvPr>
        </p:nvSpPr>
        <p:spPr>
          <a:xfrm>
            <a:off x="0" y="-7694"/>
            <a:ext cx="0" cy="15389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1"/>
          </p:nvPr>
        </p:nvSpPr>
        <p:spPr>
          <a:xfrm>
            <a:off x="0" y="-23083"/>
            <a:ext cx="0" cy="0"/>
          </a:xfrm>
        </p:spPr>
        <p:txBody>
          <a:bodyPr>
            <a:norm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BB087720-8024-4DD6-978D-6C7F11933EA5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" name="Tittel 5"/>
          <p:cNvSpPr>
            <a:spLocks noGrp="1"/>
          </p:cNvSpPr>
          <p:nvPr>
            <p:ph type="title"/>
          </p:nvPr>
        </p:nvSpPr>
        <p:spPr>
          <a:xfrm>
            <a:off x="0" y="0"/>
            <a:ext cx="0" cy="0"/>
          </a:xfrm>
        </p:spPr>
        <p:txBody>
          <a:bodyPr>
            <a:normAutofit/>
          </a:bodyPr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8946181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394115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>
            <p:custDataLst>
              <p:tags r:id="rId2"/>
            </p:custDataLst>
          </p:nvPr>
        </p:nvSpPr>
        <p:spPr>
          <a:xfrm>
            <a:off x="504000" y="1591200"/>
            <a:ext cx="11184000" cy="4140000"/>
          </a:xfrm>
          <a:prstGeom prst="rect">
            <a:avLst/>
          </a:prstGeom>
          <a:solidFill>
            <a:srgbClr val="6767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864000" y="1737093"/>
            <a:ext cx="10363200" cy="646331"/>
          </a:xfrm>
        </p:spPr>
        <p:txBody>
          <a:bodyPr lIns="0" tIns="0" rIns="0" bIns="0" anchor="t" anchorCtr="0">
            <a:spAutoFit/>
          </a:bodyPr>
          <a:lstStyle>
            <a:lvl1pPr algn="l"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864000" y="3651719"/>
            <a:ext cx="10363200" cy="392415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55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2" name="Bilde 11" descr="logo_600dpi.pn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" y="0"/>
            <a:ext cx="2267716" cy="1069850"/>
          </a:xfrm>
          <a:prstGeom prst="rect">
            <a:avLst/>
          </a:prstGeom>
        </p:spPr>
      </p:pic>
      <p:pic>
        <p:nvPicPr>
          <p:cNvPr id="13" name="Bilde 12" descr="tekst_bunn_600dpi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4234" y="5961886"/>
            <a:ext cx="2743205" cy="896114"/>
          </a:xfrm>
          <a:prstGeom prst="rect">
            <a:avLst/>
          </a:prstGeom>
        </p:spPr>
      </p:pic>
      <p:sp>
        <p:nvSpPr>
          <p:cNvPr id="14" name="Plassholder for lysbildenummer 13"/>
          <p:cNvSpPr>
            <a:spLocks noGrp="1"/>
          </p:cNvSpPr>
          <p:nvPr>
            <p:ph type="sldNum" sz="quarter" idx="10"/>
          </p:nvPr>
        </p:nvSpPr>
        <p:spPr>
          <a:xfrm>
            <a:off x="0" y="-53861"/>
            <a:ext cx="0" cy="107722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Side </a:t>
            </a:r>
            <a:fld id="{BB087720-8024-4DD6-978D-6C7F11933EA5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bunntekst 14"/>
          <p:cNvSpPr>
            <a:spLocks noGrp="1"/>
          </p:cNvSpPr>
          <p:nvPr>
            <p:ph type="ftr" sz="quarter" idx="11"/>
          </p:nvPr>
        </p:nvSpPr>
        <p:spPr>
          <a:xfrm>
            <a:off x="0" y="-7694"/>
            <a:ext cx="0" cy="15389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492185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 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304617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>
            <p:custDataLst>
              <p:tags r:id="rId2"/>
            </p:custDataLst>
          </p:nvPr>
        </p:nvSpPr>
        <p:spPr>
          <a:xfrm>
            <a:off x="504000" y="1591200"/>
            <a:ext cx="11184000" cy="4140000"/>
          </a:xfrm>
          <a:prstGeom prst="rect">
            <a:avLst/>
          </a:prstGeom>
          <a:solidFill>
            <a:srgbClr val="267D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864000" y="1737093"/>
            <a:ext cx="10363200" cy="646331"/>
          </a:xfrm>
        </p:spPr>
        <p:txBody>
          <a:bodyPr lIns="0" tIns="0" rIns="0" bIns="0" anchor="t" anchorCtr="0">
            <a:spAutoFit/>
          </a:bodyPr>
          <a:lstStyle>
            <a:lvl1pPr algn="l"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864000" y="3651719"/>
            <a:ext cx="10363200" cy="392415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55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1" name="Bilde 10" descr="logo_600dpi.pn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" y="0"/>
            <a:ext cx="2267716" cy="1069850"/>
          </a:xfrm>
          <a:prstGeom prst="rect">
            <a:avLst/>
          </a:prstGeom>
        </p:spPr>
      </p:pic>
      <p:pic>
        <p:nvPicPr>
          <p:cNvPr id="12" name="Bilde 11" descr="tekst_bunn_600dpi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4234" y="5961886"/>
            <a:ext cx="2743205" cy="896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0469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80670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10" name="Objek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>
            <p:custDataLst>
              <p:tags r:id="rId2"/>
            </p:custDataLst>
          </p:nvPr>
        </p:nvSpPr>
        <p:spPr>
          <a:xfrm>
            <a:off x="504000" y="1591200"/>
            <a:ext cx="11184000" cy="4140000"/>
          </a:xfrm>
          <a:prstGeom prst="rect">
            <a:avLst/>
          </a:prstGeom>
          <a:solidFill>
            <a:srgbClr val="266D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864000" y="1737093"/>
            <a:ext cx="10363200" cy="646331"/>
          </a:xfrm>
        </p:spPr>
        <p:txBody>
          <a:bodyPr lIns="0" tIns="0" rIns="0" bIns="0" anchor="t" anchorCtr="0">
            <a:spAutoFit/>
          </a:bodyPr>
          <a:lstStyle>
            <a:lvl1pPr algn="l">
              <a:defRPr sz="4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864000" y="3651719"/>
            <a:ext cx="10363200" cy="392415"/>
          </a:xfrm>
        </p:spPr>
        <p:txBody>
          <a:bodyPr wrap="square" lIns="0" tIns="0" rIns="0" bIns="0" anchor="t" anchorCtr="0">
            <a:spAutoFit/>
          </a:bodyPr>
          <a:lstStyle>
            <a:lvl1pPr marL="0" indent="0" algn="l">
              <a:buNone/>
              <a:defRPr sz="255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1" name="Bilde 10" descr="logo_600dpi.pn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" y="0"/>
            <a:ext cx="2267716" cy="1069850"/>
          </a:xfrm>
          <a:prstGeom prst="rect">
            <a:avLst/>
          </a:prstGeom>
        </p:spPr>
      </p:pic>
      <p:pic>
        <p:nvPicPr>
          <p:cNvPr id="12" name="Bilde 11" descr="tekst_bunn_600dpi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4234" y="5961886"/>
            <a:ext cx="2743205" cy="896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8908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bunntekst 2"/>
          <p:cNvSpPr>
            <a:spLocks noGrp="1"/>
          </p:cNvSpPr>
          <p:nvPr>
            <p:ph type="ftr" sz="quarter" idx="10"/>
          </p:nvPr>
        </p:nvSpPr>
        <p:spPr>
          <a:xfrm>
            <a:off x="1871531" y="6265280"/>
            <a:ext cx="6528725" cy="276999"/>
          </a:xfrm>
        </p:spPr>
        <p:txBody>
          <a:bodyPr/>
          <a:lstStyle/>
          <a:p>
            <a:endParaRPr lang="nb-NO"/>
          </a:p>
        </p:txBody>
      </p:sp>
      <p:sp>
        <p:nvSpPr>
          <p:cNvPr id="8" name="Plassholder for lysbildenummer 3"/>
          <p:cNvSpPr>
            <a:spLocks noGrp="1"/>
          </p:cNvSpPr>
          <p:nvPr>
            <p:ph type="sldNum" sz="quarter" idx="11"/>
          </p:nvPr>
        </p:nvSpPr>
        <p:spPr>
          <a:xfrm>
            <a:off x="8507200" y="6265280"/>
            <a:ext cx="2844800" cy="276999"/>
          </a:xfrm>
        </p:spPr>
        <p:txBody>
          <a:bodyPr/>
          <a:lstStyle/>
          <a:p>
            <a:fld id="{BB087720-8024-4DD6-978D-6C7F11933EA5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6" name="Rett linje 5">
            <a:extLst>
              <a:ext uri="{FF2B5EF4-FFF2-40B4-BE49-F238E27FC236}">
                <a16:creationId xmlns:a16="http://schemas.microsoft.com/office/drawing/2014/main" id="{A090F62F-8BE3-4273-86D9-4BF80451A195}"/>
              </a:ext>
            </a:extLst>
          </p:cNvPr>
          <p:cNvCxnSpPr/>
          <p:nvPr userDrawn="1"/>
        </p:nvCxnSpPr>
        <p:spPr>
          <a:xfrm>
            <a:off x="840000" y="1196752"/>
            <a:ext cx="1051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46683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bunntekst 2"/>
          <p:cNvSpPr>
            <a:spLocks noGrp="1"/>
          </p:cNvSpPr>
          <p:nvPr>
            <p:ph type="ftr" sz="quarter" idx="10"/>
          </p:nvPr>
        </p:nvSpPr>
        <p:spPr>
          <a:xfrm>
            <a:off x="1871531" y="6265280"/>
            <a:ext cx="6528725" cy="276999"/>
          </a:xfrm>
        </p:spPr>
        <p:txBody>
          <a:bodyPr/>
          <a:lstStyle/>
          <a:p>
            <a:endParaRPr lang="nb-NO"/>
          </a:p>
        </p:txBody>
      </p:sp>
      <p:sp>
        <p:nvSpPr>
          <p:cNvPr id="8" name="Plassholder for lysbildenummer 3"/>
          <p:cNvSpPr>
            <a:spLocks noGrp="1"/>
          </p:cNvSpPr>
          <p:nvPr>
            <p:ph type="sldNum" sz="quarter" idx="11"/>
          </p:nvPr>
        </p:nvSpPr>
        <p:spPr>
          <a:xfrm>
            <a:off x="8507200" y="6265280"/>
            <a:ext cx="2844800" cy="276999"/>
          </a:xfrm>
        </p:spPr>
        <p:txBody>
          <a:bodyPr/>
          <a:lstStyle/>
          <a:p>
            <a:fld id="{BB087720-8024-4DD6-978D-6C7F11933EA5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Plassholder for bilde 4"/>
          <p:cNvSpPr>
            <a:spLocks noGrp="1"/>
          </p:cNvSpPr>
          <p:nvPr>
            <p:ph type="pic" sz="quarter" idx="12" hasCustomPrompt="1"/>
          </p:nvPr>
        </p:nvSpPr>
        <p:spPr>
          <a:xfrm>
            <a:off x="840000" y="1494000"/>
            <a:ext cx="10512000" cy="4140000"/>
          </a:xfrm>
        </p:spPr>
        <p:txBody>
          <a:bodyPr tIns="1404000"/>
          <a:lstStyle>
            <a:lvl1pPr marL="0" indent="0" algn="ctr">
              <a:buNone/>
              <a:defRPr/>
            </a:lvl1pPr>
          </a:lstStyle>
          <a:p>
            <a:r>
              <a:rPr lang="nb-NO"/>
              <a:t>Sett inn bilde</a:t>
            </a:r>
          </a:p>
        </p:txBody>
      </p:sp>
      <p:cxnSp>
        <p:nvCxnSpPr>
          <p:cNvPr id="6" name="Rett linje 5">
            <a:extLst>
              <a:ext uri="{FF2B5EF4-FFF2-40B4-BE49-F238E27FC236}">
                <a16:creationId xmlns:a16="http://schemas.microsoft.com/office/drawing/2014/main" id="{879426E6-6AAB-4973-8DAC-DBD67B9FE6BE}"/>
              </a:ext>
            </a:extLst>
          </p:cNvPr>
          <p:cNvCxnSpPr/>
          <p:nvPr userDrawn="1"/>
        </p:nvCxnSpPr>
        <p:spPr>
          <a:xfrm>
            <a:off x="840000" y="1196752"/>
            <a:ext cx="1051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91450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uten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unntekst 2"/>
          <p:cNvSpPr>
            <a:spLocks noGrp="1"/>
          </p:cNvSpPr>
          <p:nvPr>
            <p:ph type="ftr" sz="quarter" idx="10"/>
          </p:nvPr>
        </p:nvSpPr>
        <p:spPr>
          <a:xfrm>
            <a:off x="1871531" y="6265280"/>
            <a:ext cx="6528725" cy="276999"/>
          </a:xfrm>
        </p:spPr>
        <p:txBody>
          <a:bodyPr/>
          <a:lstStyle/>
          <a:p>
            <a:endParaRPr lang="nb-NO"/>
          </a:p>
        </p:txBody>
      </p:sp>
      <p:sp>
        <p:nvSpPr>
          <p:cNvPr id="8" name="Plassholder for lysbildenummer 3"/>
          <p:cNvSpPr>
            <a:spLocks noGrp="1"/>
          </p:cNvSpPr>
          <p:nvPr>
            <p:ph type="sldNum" sz="quarter" idx="11"/>
          </p:nvPr>
        </p:nvSpPr>
        <p:spPr>
          <a:xfrm>
            <a:off x="8507200" y="6265280"/>
            <a:ext cx="2844800" cy="276999"/>
          </a:xfrm>
        </p:spPr>
        <p:txBody>
          <a:bodyPr/>
          <a:lstStyle/>
          <a:p>
            <a:fld id="{BB087720-8024-4DD6-978D-6C7F11933EA5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Plassholder for bilde 4"/>
          <p:cNvSpPr>
            <a:spLocks noGrp="1"/>
          </p:cNvSpPr>
          <p:nvPr>
            <p:ph type="pic" sz="quarter" idx="12" hasCustomPrompt="1"/>
          </p:nvPr>
        </p:nvSpPr>
        <p:spPr>
          <a:xfrm>
            <a:off x="840000" y="630000"/>
            <a:ext cx="10512000" cy="5004000"/>
          </a:xfrm>
        </p:spPr>
        <p:txBody>
          <a:bodyPr tIns="1764000"/>
          <a:lstStyle>
            <a:lvl1pPr marL="0" indent="0" algn="ctr">
              <a:buNone/>
              <a:defRPr/>
            </a:lvl1pPr>
          </a:lstStyle>
          <a:p>
            <a:r>
              <a:rPr lang="nb-NO"/>
              <a:t>Sett inn bilde</a:t>
            </a:r>
          </a:p>
        </p:txBody>
      </p:sp>
    </p:spTree>
    <p:extLst>
      <p:ext uri="{BB962C8B-B14F-4D97-AF65-F5344CB8AC3E}">
        <p14:creationId xmlns:p14="http://schemas.microsoft.com/office/powerpoint/2010/main" val="12210253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bunntekst 2"/>
          <p:cNvSpPr>
            <a:spLocks noGrp="1"/>
          </p:cNvSpPr>
          <p:nvPr>
            <p:ph type="ftr" sz="quarter" idx="10"/>
          </p:nvPr>
        </p:nvSpPr>
        <p:spPr>
          <a:xfrm>
            <a:off x="1871531" y="6265280"/>
            <a:ext cx="6528725" cy="276999"/>
          </a:xfrm>
        </p:spPr>
        <p:txBody>
          <a:bodyPr/>
          <a:lstStyle/>
          <a:p>
            <a:endParaRPr lang="nb-NO"/>
          </a:p>
        </p:txBody>
      </p:sp>
      <p:sp>
        <p:nvSpPr>
          <p:cNvPr id="9" name="Plassholder for lysbildenummer 3"/>
          <p:cNvSpPr>
            <a:spLocks noGrp="1"/>
          </p:cNvSpPr>
          <p:nvPr>
            <p:ph type="sldNum" sz="quarter" idx="11"/>
          </p:nvPr>
        </p:nvSpPr>
        <p:spPr>
          <a:xfrm>
            <a:off x="8507200" y="6265280"/>
            <a:ext cx="2844800" cy="276999"/>
          </a:xfrm>
        </p:spPr>
        <p:txBody>
          <a:bodyPr/>
          <a:lstStyle/>
          <a:p>
            <a:fld id="{BB087720-8024-4DD6-978D-6C7F11933EA5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7" name="Rett linje 6">
            <a:extLst>
              <a:ext uri="{FF2B5EF4-FFF2-40B4-BE49-F238E27FC236}">
                <a16:creationId xmlns:a16="http://schemas.microsoft.com/office/drawing/2014/main" id="{287A22EE-51A7-41D5-A5F5-517996FE582B}"/>
              </a:ext>
            </a:extLst>
          </p:cNvPr>
          <p:cNvCxnSpPr/>
          <p:nvPr userDrawn="1"/>
        </p:nvCxnSpPr>
        <p:spPr>
          <a:xfrm>
            <a:off x="840000" y="1196752"/>
            <a:ext cx="1051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88685B7-236B-4D85-A0B9-DD2D1AFAF47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40000" y="1535583"/>
            <a:ext cx="5102400" cy="414000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55ACCC28-D7A6-4681-A7BB-AE07A11B747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49600" y="1535583"/>
            <a:ext cx="5102400" cy="414000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6201717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rkel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bunntekst 2"/>
          <p:cNvSpPr>
            <a:spLocks noGrp="1"/>
          </p:cNvSpPr>
          <p:nvPr>
            <p:ph type="ftr" sz="quarter" idx="10"/>
          </p:nvPr>
        </p:nvSpPr>
        <p:spPr>
          <a:xfrm>
            <a:off x="1871531" y="6265280"/>
            <a:ext cx="6528725" cy="276999"/>
          </a:xfrm>
        </p:spPr>
        <p:txBody>
          <a:bodyPr/>
          <a:lstStyle/>
          <a:p>
            <a:endParaRPr lang="nb-NO"/>
          </a:p>
        </p:txBody>
      </p:sp>
      <p:sp>
        <p:nvSpPr>
          <p:cNvPr id="9" name="Plassholder for lysbildenummer 3"/>
          <p:cNvSpPr>
            <a:spLocks noGrp="1"/>
          </p:cNvSpPr>
          <p:nvPr>
            <p:ph type="sldNum" sz="quarter" idx="11"/>
          </p:nvPr>
        </p:nvSpPr>
        <p:spPr>
          <a:xfrm>
            <a:off x="8507200" y="6265280"/>
            <a:ext cx="2844800" cy="276999"/>
          </a:xfrm>
        </p:spPr>
        <p:txBody>
          <a:bodyPr/>
          <a:lstStyle/>
          <a:p>
            <a:fld id="{BB087720-8024-4DD6-978D-6C7F11933EA5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4" name="Plassholder for bilde 13"/>
          <p:cNvSpPr>
            <a:spLocks noGrp="1"/>
          </p:cNvSpPr>
          <p:nvPr>
            <p:ph type="pic" sz="quarter" idx="13" hasCustomPrompt="1"/>
          </p:nvPr>
        </p:nvSpPr>
        <p:spPr>
          <a:xfrm>
            <a:off x="6249600" y="1537200"/>
            <a:ext cx="5102400" cy="3826800"/>
          </a:xfrm>
          <a:prstGeom prst="ellipse">
            <a:avLst/>
          </a:prstGeom>
        </p:spPr>
        <p:txBody>
          <a:bodyPr tIns="540000"/>
          <a:lstStyle>
            <a:lvl1pPr algn="ctr">
              <a:buNone/>
              <a:defRPr baseline="0"/>
            </a:lvl1pPr>
          </a:lstStyle>
          <a:p>
            <a:r>
              <a:rPr lang="nb-NO"/>
              <a:t>Sett inn bilde</a:t>
            </a:r>
          </a:p>
        </p:txBody>
      </p:sp>
      <p:cxnSp>
        <p:nvCxnSpPr>
          <p:cNvPr id="7" name="Rett linje 6">
            <a:extLst>
              <a:ext uri="{FF2B5EF4-FFF2-40B4-BE49-F238E27FC236}">
                <a16:creationId xmlns:a16="http://schemas.microsoft.com/office/drawing/2014/main" id="{ABA8F288-1075-4BC3-82F7-D8C2DD761409}"/>
              </a:ext>
            </a:extLst>
          </p:cNvPr>
          <p:cNvCxnSpPr/>
          <p:nvPr userDrawn="1"/>
        </p:nvCxnSpPr>
        <p:spPr>
          <a:xfrm>
            <a:off x="840000" y="1196752"/>
            <a:ext cx="1051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C6D5767-323F-42B0-86D3-3DE8334B127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40000" y="1535583"/>
            <a:ext cx="5102400" cy="414000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620171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13" name="Picture 17" descr="Z:\UDI\UDI_ppt_adpoint\UDI_ppt_adpoint\bunn_tekstsider_600dpi.png"/>
          <p:cNvPicPr>
            <a:picLocks noChangeAspect="1" noChangeArrowheads="1"/>
          </p:cNvPicPr>
          <p:nvPr userDrawn="1"/>
        </p:nvPicPr>
        <p:blipFill rotWithShape="1">
          <a:blip r:embed="rId21" cstate="print"/>
          <a:srcRect t="21095"/>
          <a:stretch/>
        </p:blipFill>
        <p:spPr bwMode="auto">
          <a:xfrm>
            <a:off x="0" y="6165305"/>
            <a:ext cx="12192000" cy="692695"/>
          </a:xfrm>
          <a:prstGeom prst="rect">
            <a:avLst/>
          </a:prstGeom>
          <a:noFill/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37263857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">
                  <p:embed/>
                </p:oleObj>
              </mc:Choice>
              <mc:Fallback>
                <p:oleObj name="think-cell Slide" r:id="rId22" imgW="270" imgH="270" progId="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  <p:custDataLst>
              <p:tags r:id="rId17"/>
            </p:custDataLst>
          </p:nvPr>
        </p:nvSpPr>
        <p:spPr>
          <a:xfrm>
            <a:off x="840000" y="565066"/>
            <a:ext cx="10512000" cy="61555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  <p:custDataLst>
              <p:tags r:id="rId18"/>
            </p:custDataLst>
          </p:nvPr>
        </p:nvSpPr>
        <p:spPr>
          <a:xfrm>
            <a:off x="840000" y="1492041"/>
            <a:ext cx="10512000" cy="414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  <p:custDataLst>
              <p:tags r:id="rId19"/>
            </p:custDataLst>
          </p:nvPr>
        </p:nvSpPr>
        <p:spPr>
          <a:xfrm>
            <a:off x="1871531" y="6265280"/>
            <a:ext cx="6528725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800">
                <a:solidFill>
                  <a:srgbClr val="858688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8507200" y="6265280"/>
            <a:ext cx="2844800" cy="2769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800">
                <a:solidFill>
                  <a:srgbClr val="858688"/>
                </a:solidFill>
              </a:defRPr>
            </a:lvl1pPr>
          </a:lstStyle>
          <a:p>
            <a:fld id="{BB087720-8024-4DD6-978D-6C7F11933EA5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C12063B5-44BE-4B7F-A3C7-87A35F83A6CD}"/>
              </a:ext>
            </a:extLst>
          </p:cNvPr>
          <p:cNvCxnSpPr/>
          <p:nvPr userDrawn="1"/>
        </p:nvCxnSpPr>
        <p:spPr>
          <a:xfrm>
            <a:off x="815413" y="6120765"/>
            <a:ext cx="1051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3494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49" r:id="rId2"/>
    <p:sldLayoutId id="2147483661" r:id="rId3"/>
    <p:sldLayoutId id="2147483662" r:id="rId4"/>
    <p:sldLayoutId id="2147483650" r:id="rId5"/>
    <p:sldLayoutId id="2147483669" r:id="rId6"/>
    <p:sldLayoutId id="2147483670" r:id="rId7"/>
    <p:sldLayoutId id="2147483652" r:id="rId8"/>
    <p:sldLayoutId id="2147483667" r:id="rId9"/>
    <p:sldLayoutId id="2147483668" r:id="rId10"/>
    <p:sldLayoutId id="2147483665" r:id="rId11"/>
    <p:sldLayoutId id="2147483654" r:id="rId12"/>
    <p:sldLayoutId id="2147483655" r:id="rId13"/>
    <p:sldLayoutId id="2147483663" r:id="rId1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C03539"/>
        </a:buClr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20713" indent="-285750" algn="l" defTabSz="914400" rtl="0" eaLnBrk="1" latinLnBrk="0" hangingPunct="1">
        <a:spcBef>
          <a:spcPct val="20000"/>
        </a:spcBef>
        <a:buClr>
          <a:srgbClr val="C03539"/>
        </a:buClr>
        <a:buSzPct val="80000"/>
        <a:buFont typeface="Wingdings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984250" indent="-228600" algn="l" defTabSz="914400" rtl="0" eaLnBrk="1" latinLnBrk="0" hangingPunct="1">
        <a:spcBef>
          <a:spcPct val="20000"/>
        </a:spcBef>
        <a:buClr>
          <a:srgbClr val="C03539"/>
        </a:buClr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1339850" indent="-228600" algn="l" defTabSz="914400" rtl="0" eaLnBrk="1" latinLnBrk="0" hangingPunct="1">
        <a:spcBef>
          <a:spcPct val="20000"/>
        </a:spcBef>
        <a:buClr>
          <a:srgbClr val="C03539"/>
        </a:buClr>
        <a:buFont typeface="Arial" pitchFamily="34" charset="0"/>
        <a:buChar char="–"/>
        <a:tabLst>
          <a:tab pos="1255713" algn="l"/>
        </a:tabLst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1708150" indent="-228600" algn="l" defTabSz="914400" rtl="0" eaLnBrk="1" latinLnBrk="0" hangingPunct="1">
        <a:spcBef>
          <a:spcPct val="20000"/>
        </a:spcBef>
        <a:buClr>
          <a:srgbClr val="C03539"/>
        </a:buClr>
        <a:buFont typeface="Arial" pitchFamily="34" charset="0"/>
        <a:buChar char="»"/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1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7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72000" y="2172899"/>
            <a:ext cx="7772400" cy="697893"/>
          </a:xfrm>
        </p:spPr>
        <p:txBody>
          <a:bodyPr/>
          <a:lstStyle/>
          <a:p>
            <a:r>
              <a:rPr lang="nb-NO" b="1" i="0">
                <a:effectLst/>
                <a:latin typeface="system-ui"/>
              </a:rPr>
              <a:t>Evaluering i og av en krise</a:t>
            </a:r>
            <a:br>
              <a:rPr lang="nb-NO" b="1" i="0">
                <a:effectLst/>
                <a:latin typeface="system-ui"/>
              </a:rPr>
            </a:br>
            <a:endParaRPr lang="nb-NO">
              <a:cs typeface="Arial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72000" y="2870792"/>
            <a:ext cx="7772400" cy="2197525"/>
          </a:xfrm>
        </p:spPr>
        <p:txBody>
          <a:bodyPr/>
          <a:lstStyle/>
          <a:p>
            <a:r>
              <a:rPr lang="nb-NO"/>
              <a:t>Hva lærte vi fra evalueringene av flyktningkrisene i 2015 og 2022?</a:t>
            </a:r>
          </a:p>
          <a:p>
            <a:endParaRPr lang="nb-NO"/>
          </a:p>
          <a:p>
            <a:r>
              <a:rPr lang="nb-NO"/>
              <a:t>Berit Gravdahl</a:t>
            </a:r>
          </a:p>
          <a:p>
            <a:r>
              <a:rPr lang="nb-NO"/>
              <a:t>Rachel Elisabeth Eide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0"/>
          </p:nvPr>
        </p:nvSpPr>
        <p:spPr>
          <a:xfrm>
            <a:off x="0" y="-30778"/>
            <a:ext cx="0" cy="61555"/>
          </a:xfrm>
        </p:spPr>
        <p:txBody>
          <a:bodyPr/>
          <a:lstStyle/>
          <a:p>
            <a:fld id="{9738CBE5-F950-4280-97A0-2C7A3D79FFF2}" type="slidenum">
              <a:rPr lang="nb-NO" smtClean="0"/>
              <a:pPr/>
              <a:t>1</a:t>
            </a:fld>
            <a:r>
              <a:rPr lang="nb-NO"/>
              <a:t> (1)</a:t>
            </a:r>
          </a:p>
        </p:txBody>
      </p:sp>
    </p:spTree>
    <p:extLst>
      <p:ext uri="{BB962C8B-B14F-4D97-AF65-F5344CB8AC3E}">
        <p14:creationId xmlns:p14="http://schemas.microsoft.com/office/powerpoint/2010/main" val="20642358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5BE78AD-AD94-4AA1-A028-090DAB10BB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Formidling av foreløpige fun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087720-8024-4DD6-978D-6C7F11933EA5}" type="slidenum">
              <a:rPr lang="nb-NO" smtClean="0"/>
              <a:pPr>
                <a:spcAft>
                  <a:spcPts val="600"/>
                </a:spcAft>
              </a:pPr>
              <a:t>10</a:t>
            </a:fld>
            <a:endParaRPr lang="nb-NO"/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E246165D-C1E6-4A16-A9B1-890F0761B21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7524FB9E-B113-4678-9F38-73856E4FDFB7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8366125" y="1535113"/>
            <a:ext cx="3825875" cy="4140200"/>
          </a:xfrm>
        </p:spPr>
        <p:txBody>
          <a:bodyPr anchor="t">
            <a:normAutofit/>
          </a:bodyPr>
          <a:lstStyle/>
          <a:p>
            <a:pPr marL="0" indent="0">
              <a:buNone/>
            </a:pPr>
            <a:endParaRPr lang="nb-NO"/>
          </a:p>
          <a:p>
            <a:endParaRPr lang="nb-NO"/>
          </a:p>
        </p:txBody>
      </p:sp>
      <p:pic>
        <p:nvPicPr>
          <p:cNvPr id="6" name="Bilde 5" descr="Et bilde som inneholder tekst&#10;&#10;Automatisk generert beskrivelse">
            <a:extLst>
              <a:ext uri="{FF2B5EF4-FFF2-40B4-BE49-F238E27FC236}">
                <a16:creationId xmlns:a16="http://schemas.microsoft.com/office/drawing/2014/main" id="{F491D1C8-7FE2-41C0-9A37-6B86D59868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4990" y="1494000"/>
            <a:ext cx="3053704" cy="4140000"/>
          </a:xfrm>
          <a:prstGeom prst="rect">
            <a:avLst/>
          </a:prstGeom>
          <a:noFill/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0B3B1F1A-AC7E-4FA7-9F03-DB28727C77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32295" y="1494000"/>
            <a:ext cx="3053703" cy="4181114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0A2660BB-4A8A-444D-8B42-113029DF52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92862" y="1535114"/>
            <a:ext cx="3054148" cy="41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8111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00BD14C-C51B-4DA7-90C1-E27350D527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00" y="565066"/>
            <a:ext cx="10512000" cy="615553"/>
          </a:xfrm>
        </p:spPr>
        <p:txBody>
          <a:bodyPr anchor="t">
            <a:normAutofit/>
          </a:bodyPr>
          <a:lstStyle/>
          <a:p>
            <a:r>
              <a:rPr lang="nb-NO"/>
              <a:t>Klarte vi å lære underveis?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87895B91-E512-452B-A942-F4C713C720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07200" y="6265280"/>
            <a:ext cx="2844800" cy="276999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087720-8024-4DD6-978D-6C7F11933EA5}" type="slidenum">
              <a:rPr lang="nb-NO" smtClean="0"/>
              <a:pPr>
                <a:spcAft>
                  <a:spcPts val="600"/>
                </a:spcAft>
              </a:pPr>
              <a:t>11</a:t>
            </a:fld>
            <a:endParaRPr lang="nb-NO"/>
          </a:p>
        </p:txBody>
      </p:sp>
      <p:pic>
        <p:nvPicPr>
          <p:cNvPr id="14" name="Grafikk 13" descr="Sove med heldekkende fyll">
            <a:extLst>
              <a:ext uri="{FF2B5EF4-FFF2-40B4-BE49-F238E27FC236}">
                <a16:creationId xmlns:a16="http://schemas.microsoft.com/office/drawing/2014/main" id="{78986FC7-A1CD-4215-88CA-9D3150DD64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39190" y="2065397"/>
            <a:ext cx="2406777" cy="2406777"/>
          </a:xfrm>
          <a:prstGeom prst="rect">
            <a:avLst/>
          </a:prstGeom>
        </p:spPr>
      </p:pic>
      <p:pic>
        <p:nvPicPr>
          <p:cNvPr id="18" name="Plassholder for innhold 17" descr="Mynter kontur">
            <a:extLst>
              <a:ext uri="{FF2B5EF4-FFF2-40B4-BE49-F238E27FC236}">
                <a16:creationId xmlns:a16="http://schemas.microsoft.com/office/drawing/2014/main" id="{6CBC1E63-12F1-43E9-ABD7-A616796625F5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484141" y="2036643"/>
            <a:ext cx="2406777" cy="2406777"/>
          </a:xfrm>
        </p:spPr>
      </p:pic>
      <p:pic>
        <p:nvPicPr>
          <p:cNvPr id="22" name="Plassholder for innhold 21" descr="Informasjon med heldekkende fyll">
            <a:extLst>
              <a:ext uri="{FF2B5EF4-FFF2-40B4-BE49-F238E27FC236}">
                <a16:creationId xmlns:a16="http://schemas.microsoft.com/office/drawing/2014/main" id="{C983F489-54E2-45B9-9DA6-18787CF033A6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51743" y="2094147"/>
            <a:ext cx="2349273" cy="2349273"/>
          </a:xfrm>
        </p:spPr>
      </p:pic>
      <p:sp>
        <p:nvSpPr>
          <p:cNvPr id="24" name="TekstSylinder 23">
            <a:extLst>
              <a:ext uri="{FF2B5EF4-FFF2-40B4-BE49-F238E27FC236}">
                <a16:creationId xmlns:a16="http://schemas.microsoft.com/office/drawing/2014/main" id="{F6F9D3C6-69E0-4148-9C56-B59355F98467}"/>
              </a:ext>
            </a:extLst>
          </p:cNvPr>
          <p:cNvSpPr txBox="1"/>
          <p:nvPr/>
        </p:nvSpPr>
        <p:spPr>
          <a:xfrm>
            <a:off x="1196029" y="5279511"/>
            <a:ext cx="20607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/>
              <a:t>Informasjon</a:t>
            </a:r>
          </a:p>
        </p:txBody>
      </p:sp>
      <p:sp>
        <p:nvSpPr>
          <p:cNvPr id="26" name="TekstSylinder 25">
            <a:extLst>
              <a:ext uri="{FF2B5EF4-FFF2-40B4-BE49-F238E27FC236}">
                <a16:creationId xmlns:a16="http://schemas.microsoft.com/office/drawing/2014/main" id="{463EC9DE-133F-4454-B148-172E0CB8FCBE}"/>
              </a:ext>
            </a:extLst>
          </p:cNvPr>
          <p:cNvSpPr txBox="1"/>
          <p:nvPr/>
        </p:nvSpPr>
        <p:spPr>
          <a:xfrm flipH="1">
            <a:off x="4379679" y="5279511"/>
            <a:ext cx="31257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/>
              <a:t>Akuttinnkvartering</a:t>
            </a:r>
          </a:p>
        </p:txBody>
      </p: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F034840B-336C-49FC-A77B-F122F03C11A4}"/>
              </a:ext>
            </a:extLst>
          </p:cNvPr>
          <p:cNvSpPr txBox="1"/>
          <p:nvPr/>
        </p:nvSpPr>
        <p:spPr>
          <a:xfrm>
            <a:off x="8348871" y="5299444"/>
            <a:ext cx="30031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/>
              <a:t>Pengeutbetaling</a:t>
            </a:r>
          </a:p>
        </p:txBody>
      </p:sp>
    </p:spTree>
    <p:extLst>
      <p:ext uri="{BB962C8B-B14F-4D97-AF65-F5344CB8AC3E}">
        <p14:creationId xmlns:p14="http://schemas.microsoft.com/office/powerpoint/2010/main" val="42387879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1DC0DC-F7D4-F9D2-B1C0-CE9D40356F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00" y="565066"/>
            <a:ext cx="10512000" cy="615553"/>
          </a:xfrm>
        </p:spPr>
        <p:txBody>
          <a:bodyPr anchor="t">
            <a:normAutofit/>
          </a:bodyPr>
          <a:lstStyle/>
          <a:p>
            <a:r>
              <a:rPr lang="en-US" err="1"/>
              <a:t>Hva</a:t>
            </a:r>
            <a:r>
              <a:rPr lang="en-US"/>
              <a:t> vi </a:t>
            </a:r>
            <a:r>
              <a:rPr lang="en-US" err="1"/>
              <a:t>lærte</a:t>
            </a:r>
            <a:r>
              <a:rPr lang="en-US"/>
              <a:t> av å </a:t>
            </a:r>
            <a:r>
              <a:rPr lang="en-US" err="1"/>
              <a:t>feile</a:t>
            </a:r>
            <a:r>
              <a:rPr lang="en-US"/>
              <a:t>?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F1FE46B1-E89C-4559-B57E-A81791DCA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07200" y="6265280"/>
            <a:ext cx="2844800" cy="276999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087720-8024-4DD6-978D-6C7F11933EA5}" type="slidenum">
              <a:rPr lang="nb-NO" smtClean="0"/>
              <a:pPr>
                <a:spcAft>
                  <a:spcPts val="600"/>
                </a:spcAft>
              </a:pPr>
              <a:t>12</a:t>
            </a:fld>
            <a:endParaRPr lang="nb-NO"/>
          </a:p>
        </p:txBody>
      </p:sp>
      <p:pic>
        <p:nvPicPr>
          <p:cNvPr id="12" name="Grafikk 11" descr="Omriss av et ansikt som gråter høylydt kontur">
            <a:extLst>
              <a:ext uri="{FF2B5EF4-FFF2-40B4-BE49-F238E27FC236}">
                <a16:creationId xmlns:a16="http://schemas.microsoft.com/office/drawing/2014/main" id="{41536BB0-7183-427C-9A03-B5C35AD2DD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887400" y="1537200"/>
            <a:ext cx="3826800" cy="3826800"/>
          </a:xfrm>
          <a:prstGeom prst="ellipse">
            <a:avLst/>
          </a:prstGeom>
        </p:spPr>
      </p:pic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C4676D6C-4B0A-9C8E-8861-A6A4A2AC0CB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40000" y="1535583"/>
            <a:ext cx="5102400" cy="4140000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US"/>
              <a:t>Ikke stress! </a:t>
            </a:r>
          </a:p>
          <a:p>
            <a:pPr marL="0" indent="0">
              <a:lnSpc>
                <a:spcPct val="90000"/>
              </a:lnSpc>
              <a:buNone/>
            </a:pPr>
            <a:endParaRPr lang="en-US"/>
          </a:p>
          <a:p>
            <a:pPr>
              <a:lnSpc>
                <a:spcPct val="90000"/>
              </a:lnSpc>
            </a:pPr>
            <a:r>
              <a:rPr lang="en-US" err="1"/>
              <a:t>Forberedelser</a:t>
            </a:r>
            <a:r>
              <a:rPr lang="en-US"/>
              <a:t> er </a:t>
            </a:r>
            <a:r>
              <a:rPr lang="en-US" err="1"/>
              <a:t>nøkkelen</a:t>
            </a:r>
            <a:r>
              <a:rPr lang="en-US"/>
              <a:t> </a:t>
            </a:r>
            <a:r>
              <a:rPr lang="en-US" err="1"/>
              <a:t>til</a:t>
            </a:r>
            <a:r>
              <a:rPr lang="en-US"/>
              <a:t> et </a:t>
            </a:r>
            <a:r>
              <a:rPr lang="en-US" err="1"/>
              <a:t>godt</a:t>
            </a:r>
            <a:r>
              <a:rPr lang="en-US"/>
              <a:t> </a:t>
            </a:r>
            <a:r>
              <a:rPr lang="en-US" err="1"/>
              <a:t>prosjekt</a:t>
            </a:r>
            <a:endParaRPr lang="en-US"/>
          </a:p>
          <a:p>
            <a:pPr>
              <a:lnSpc>
                <a:spcPct val="90000"/>
              </a:lnSpc>
            </a:pPr>
            <a:endParaRPr lang="en-US"/>
          </a:p>
          <a:p>
            <a:pPr>
              <a:lnSpc>
                <a:spcPct val="90000"/>
              </a:lnSpc>
            </a:pPr>
            <a:r>
              <a:rPr lang="en-US"/>
              <a:t>Det er </a:t>
            </a:r>
            <a:r>
              <a:rPr lang="en-US" err="1"/>
              <a:t>ingen</a:t>
            </a:r>
            <a:r>
              <a:rPr lang="en-US"/>
              <a:t>(?) </a:t>
            </a:r>
            <a:r>
              <a:rPr lang="en-US" err="1"/>
              <a:t>skam</a:t>
            </a:r>
            <a:r>
              <a:rPr lang="en-US"/>
              <a:t> å </a:t>
            </a:r>
            <a:r>
              <a:rPr lang="en-US" err="1"/>
              <a:t>snu</a:t>
            </a:r>
            <a:r>
              <a:rPr lang="en-US"/>
              <a:t>, men </a:t>
            </a:r>
            <a:r>
              <a:rPr lang="en-US" err="1"/>
              <a:t>kjenn</a:t>
            </a:r>
            <a:r>
              <a:rPr lang="en-US"/>
              <a:t> din </a:t>
            </a:r>
            <a:r>
              <a:rPr lang="en-US" err="1"/>
              <a:t>anskaffelseslov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71006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AB15EAB-480C-49A5-9BEE-97E12C7FE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Oppsummering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97205A39-D04B-44C8-974A-857A79A374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087720-8024-4DD6-978D-6C7F11933EA5}" type="slidenum">
              <a:rPr lang="nb-NO" smtClean="0"/>
              <a:pPr>
                <a:spcAft>
                  <a:spcPts val="600"/>
                </a:spcAft>
              </a:pPr>
              <a:t>13</a:t>
            </a:fld>
            <a:endParaRPr lang="nb-NO"/>
          </a:p>
        </p:txBody>
      </p:sp>
      <p:pic>
        <p:nvPicPr>
          <p:cNvPr id="6" name="Plassholder for innhold 5" descr="Et bilde som inneholder tekst, bord, innendørs, rotete&#10;&#10;Automatisk generert beskrivelse">
            <a:extLst>
              <a:ext uri="{FF2B5EF4-FFF2-40B4-BE49-F238E27FC236}">
                <a16:creationId xmlns:a16="http://schemas.microsoft.com/office/drawing/2014/main" id="{C32AE551-F1FA-44F8-B2ED-67C7115161FE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462" b="20462"/>
          <a:stretch/>
        </p:blipFill>
        <p:spPr>
          <a:noFill/>
        </p:spPr>
      </p:pic>
    </p:spTree>
    <p:extLst>
      <p:ext uri="{BB962C8B-B14F-4D97-AF65-F5344CB8AC3E}">
        <p14:creationId xmlns:p14="http://schemas.microsoft.com/office/powerpoint/2010/main" val="32952216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1"/>
          <p:cNvSpPr>
            <a:spLocks noGrp="1"/>
          </p:cNvSpPr>
          <p:nvPr>
            <p:ph type="sldNum" sz="quarter" idx="11"/>
          </p:nvPr>
        </p:nvSpPr>
        <p:spPr/>
        <p:txBody>
          <a:bodyPr>
            <a:normAutofit fontScale="25000" lnSpcReduction="20000"/>
          </a:bodyPr>
          <a:lstStyle/>
          <a:p>
            <a:fld id="{BB087720-8024-4DD6-978D-6C7F11933EA5}" type="slidenum">
              <a:rPr lang="nb-NO" smtClean="0"/>
              <a:pPr/>
              <a:t>14</a:t>
            </a:fld>
            <a:endParaRPr lang="nb-NO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195053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DC4DCA4-4C96-4DFA-9CEC-A94704DFC9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nb-NO"/>
              <a:t>Side </a:t>
            </a:r>
            <a:fld id="{BB087720-8024-4DD6-978D-6C7F11933EA5}" type="slidenum">
              <a:rPr lang="nb-NO" smtClean="0"/>
              <a:pPr/>
              <a:t>2</a:t>
            </a:fld>
            <a:endParaRPr lang="nb-NO"/>
          </a:p>
        </p:txBody>
      </p:sp>
      <p:pic>
        <p:nvPicPr>
          <p:cNvPr id="3" name="Plassholder for bilde 2" descr="Et bilde som inneholder person&#10;&#10;Automatisk generert beskrivelse">
            <a:extLst>
              <a:ext uri="{FF2B5EF4-FFF2-40B4-BE49-F238E27FC236}">
                <a16:creationId xmlns:a16="http://schemas.microsoft.com/office/drawing/2014/main" id="{25829DCD-F2E1-451D-B1B3-2EC6BC715EC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29" b="14329"/>
          <a:stretch/>
        </p:blipFill>
        <p:spPr/>
      </p:pic>
    </p:spTree>
    <p:extLst>
      <p:ext uri="{BB962C8B-B14F-4D97-AF65-F5344CB8AC3E}">
        <p14:creationId xmlns:p14="http://schemas.microsoft.com/office/powerpoint/2010/main" val="9690166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638717FA-E9F5-408A-BEFC-59303497D86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087720-8024-4DD6-978D-6C7F11933EA5}" type="slidenum">
              <a:rPr lang="nb-NO" smtClean="0"/>
              <a:pPr>
                <a:spcAft>
                  <a:spcPts val="600"/>
                </a:spcAft>
              </a:pPr>
              <a:t>3</a:t>
            </a:fld>
            <a:endParaRPr lang="nb-NO"/>
          </a:p>
        </p:txBody>
      </p:sp>
      <p:pic>
        <p:nvPicPr>
          <p:cNvPr id="6" name="Plassholder for innhold 5" descr="Et bilde som inneholder person, utendørs, vann, våtdrakt&#10;&#10;Automatisk generert beskrivelse">
            <a:extLst>
              <a:ext uri="{FF2B5EF4-FFF2-40B4-BE49-F238E27FC236}">
                <a16:creationId xmlns:a16="http://schemas.microsoft.com/office/drawing/2014/main" id="{BEF3EFAD-D0B4-4803-BC7F-8E6849BC1BF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278" b="14278"/>
          <a:stretch/>
        </p:blipFill>
        <p:spPr>
          <a:noFill/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D04596A2-6881-4834-80CE-3B4BFB10B70E}"/>
              </a:ext>
            </a:extLst>
          </p:cNvPr>
          <p:cNvSpPr txBox="1"/>
          <p:nvPr/>
        </p:nvSpPr>
        <p:spPr>
          <a:xfrm>
            <a:off x="6382603" y="5764973"/>
            <a:ext cx="37940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Kilde: UNHCR 22. desember 2015</a:t>
            </a:r>
          </a:p>
        </p:txBody>
      </p:sp>
    </p:spTree>
    <p:extLst>
      <p:ext uri="{BB962C8B-B14F-4D97-AF65-F5344CB8AC3E}">
        <p14:creationId xmlns:p14="http://schemas.microsoft.com/office/powerpoint/2010/main" val="34621618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087720-8024-4DD6-978D-6C7F11933EA5}" type="slidenum">
              <a:rPr lang="nb-NO" smtClean="0"/>
              <a:pPr>
                <a:spcAft>
                  <a:spcPts val="600"/>
                </a:spcAft>
              </a:pPr>
              <a:t>4</a:t>
            </a:fld>
            <a:endParaRPr lang="nb-NO"/>
          </a:p>
        </p:txBody>
      </p:sp>
      <p:pic>
        <p:nvPicPr>
          <p:cNvPr id="7" name="Plassholder for bilde 6" descr="Et bilde som inneholder tekst, person, skjermbilde&#10;&#10;Automatisk generert beskrivelse">
            <a:extLst>
              <a:ext uri="{FF2B5EF4-FFF2-40B4-BE49-F238E27FC236}">
                <a16:creationId xmlns:a16="http://schemas.microsoft.com/office/drawing/2014/main" id="{3E2D6B14-CEE5-44BB-9D48-53C0882C01E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/>
          <a:srcRect t="5847" b="5847"/>
          <a:stretch/>
        </p:blipFill>
        <p:spPr>
          <a:xfrm>
            <a:off x="4450975" y="791606"/>
            <a:ext cx="5844989" cy="5004468"/>
          </a:xfrm>
          <a:noFill/>
        </p:spPr>
      </p:pic>
      <p:pic>
        <p:nvPicPr>
          <p:cNvPr id="2" name="Picture 3">
            <a:extLst>
              <a:ext uri="{FF2B5EF4-FFF2-40B4-BE49-F238E27FC236}">
                <a16:creationId xmlns:a16="http://schemas.microsoft.com/office/drawing/2014/main" id="{3EDA4F84-C853-9B85-8A68-F8EF18EAF5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87187" y="3174793"/>
            <a:ext cx="2743200" cy="2621280"/>
          </a:xfrm>
          <a:prstGeom prst="rect">
            <a:avLst/>
          </a:prstGeom>
        </p:spPr>
      </p:pic>
      <p:pic>
        <p:nvPicPr>
          <p:cNvPr id="4" name="Picture 4">
            <a:extLst>
              <a:ext uri="{FF2B5EF4-FFF2-40B4-BE49-F238E27FC236}">
                <a16:creationId xmlns:a16="http://schemas.microsoft.com/office/drawing/2014/main" id="{00BCE825-86D6-BB56-465B-B6C2B0E359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25837" y="2655064"/>
            <a:ext cx="2743200" cy="2671802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36367BC2-4B36-43E3-8958-490E5688379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2963" y="1477346"/>
            <a:ext cx="2631360" cy="3608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6472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C73B8DE9-5A3B-D2A9-A427-6AA83BD9F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va </a:t>
            </a:r>
            <a:r>
              <a:rPr lang="en-US" err="1"/>
              <a:t>fant</a:t>
            </a:r>
            <a:r>
              <a:rPr lang="en-US"/>
              <a:t> vi </a:t>
            </a:r>
            <a:r>
              <a:rPr lang="en-US" err="1"/>
              <a:t>ut</a:t>
            </a:r>
            <a:r>
              <a:rPr lang="en-US"/>
              <a:t>?</a:t>
            </a:r>
          </a:p>
        </p:txBody>
      </p:sp>
      <p:pic>
        <p:nvPicPr>
          <p:cNvPr id="5" name="Plassholder for bilde 4" descr="Hus med heldekkende fyll">
            <a:extLst>
              <a:ext uri="{FF2B5EF4-FFF2-40B4-BE49-F238E27FC236}">
                <a16:creationId xmlns:a16="http://schemas.microsoft.com/office/drawing/2014/main" id="{744C74CB-486C-4178-83E0-15502EFBD1A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3149" y="1709530"/>
            <a:ext cx="2674208" cy="2674208"/>
          </a:xfrm>
        </p:spPr>
      </p:pic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0A3DFA96-9965-4549-AE67-2B273E0395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087720-8024-4DD6-978D-6C7F11933EA5}" type="slidenum">
              <a:rPr lang="nb-NO" smtClean="0"/>
              <a:pPr>
                <a:spcAft>
                  <a:spcPts val="600"/>
                </a:spcAft>
              </a:pPr>
              <a:t>5</a:t>
            </a:fld>
            <a:endParaRPr lang="nb-NO"/>
          </a:p>
        </p:txBody>
      </p:sp>
      <p:pic>
        <p:nvPicPr>
          <p:cNvPr id="9" name="Grafikk 8" descr="Liste med heldekkende fyll">
            <a:extLst>
              <a:ext uri="{FF2B5EF4-FFF2-40B4-BE49-F238E27FC236}">
                <a16:creationId xmlns:a16="http://schemas.microsoft.com/office/drawing/2014/main" id="{CC757677-1052-46E3-BD08-1E55286A9C0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00331" y="1606332"/>
            <a:ext cx="2844800" cy="2880602"/>
          </a:xfrm>
          <a:prstGeom prst="rect">
            <a:avLst/>
          </a:prstGeom>
        </p:spPr>
      </p:pic>
      <p:sp>
        <p:nvSpPr>
          <p:cNvPr id="11" name="TekstSylinder 10">
            <a:extLst>
              <a:ext uri="{FF2B5EF4-FFF2-40B4-BE49-F238E27FC236}">
                <a16:creationId xmlns:a16="http://schemas.microsoft.com/office/drawing/2014/main" id="{946A462B-6BA8-4952-ABC4-3791843B8AAC}"/>
              </a:ext>
            </a:extLst>
          </p:cNvPr>
          <p:cNvSpPr txBox="1"/>
          <p:nvPr/>
        </p:nvSpPr>
        <p:spPr>
          <a:xfrm>
            <a:off x="4116048" y="4810727"/>
            <a:ext cx="33528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800"/>
              <a:t>Utilstrekkelige planer</a:t>
            </a:r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1ED58E51-75AE-4E28-AB68-3684B7A5C2FE}"/>
              </a:ext>
            </a:extLst>
          </p:cNvPr>
          <p:cNvSpPr txBox="1"/>
          <p:nvPr/>
        </p:nvSpPr>
        <p:spPr>
          <a:xfrm>
            <a:off x="1013149" y="4810727"/>
            <a:ext cx="29725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800"/>
              <a:t>Tak over hodet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EE4309F1-7550-455D-B447-7888B6DD8B0C}"/>
              </a:ext>
            </a:extLst>
          </p:cNvPr>
          <p:cNvSpPr txBox="1"/>
          <p:nvPr/>
        </p:nvSpPr>
        <p:spPr>
          <a:xfrm>
            <a:off x="7692009" y="4859827"/>
            <a:ext cx="36599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800"/>
              <a:t>Utilstrekkelig oversikt</a:t>
            </a:r>
          </a:p>
        </p:txBody>
      </p:sp>
      <p:pic>
        <p:nvPicPr>
          <p:cNvPr id="19" name="Grafikk 18" descr="Gruppe med personer med heldekkende fyll">
            <a:extLst>
              <a:ext uri="{FF2B5EF4-FFF2-40B4-BE49-F238E27FC236}">
                <a16:creationId xmlns:a16="http://schemas.microsoft.com/office/drawing/2014/main" id="{BF75DB80-881B-4378-A02F-2D2C28ABCB9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154504" y="1709529"/>
            <a:ext cx="2844800" cy="2674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8809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tel 12">
            <a:extLst>
              <a:ext uri="{FF2B5EF4-FFF2-40B4-BE49-F238E27FC236}">
                <a16:creationId xmlns:a16="http://schemas.microsoft.com/office/drawing/2014/main" id="{786E687A-6A9C-491A-9B14-82F9BF18F7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00" y="315721"/>
            <a:ext cx="10512000" cy="615553"/>
          </a:xfrm>
        </p:spPr>
        <p:txBody>
          <a:bodyPr anchor="t">
            <a:normAutofit/>
          </a:bodyPr>
          <a:lstStyle/>
          <a:p>
            <a:r>
              <a:rPr lang="nb-NO"/>
              <a:t>130 anbefalinger – hva gjorde vi med dem?</a:t>
            </a:r>
          </a:p>
        </p:txBody>
      </p:sp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4C81248A-5FAE-4555-AC72-97C5D2DF6F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07200" y="6265280"/>
            <a:ext cx="2844800" cy="276999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087720-8024-4DD6-978D-6C7F11933EA5}" type="slidenum">
              <a:rPr lang="nb-NO" smtClean="0"/>
              <a:pPr>
                <a:spcAft>
                  <a:spcPts val="600"/>
                </a:spcAft>
              </a:pPr>
              <a:t>6</a:t>
            </a:fld>
            <a:endParaRPr lang="nb-NO"/>
          </a:p>
        </p:txBody>
      </p:sp>
      <p:pic>
        <p:nvPicPr>
          <p:cNvPr id="30" name="Plassholder for innhold 29">
            <a:extLst>
              <a:ext uri="{FF2B5EF4-FFF2-40B4-BE49-F238E27FC236}">
                <a16:creationId xmlns:a16="http://schemas.microsoft.com/office/drawing/2014/main" id="{F3A1592F-DE6A-4ADD-BA08-D68E234B6986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3"/>
          <a:stretch>
            <a:fillRect/>
          </a:stretch>
        </p:blipFill>
        <p:spPr>
          <a:xfrm>
            <a:off x="840000" y="1535583"/>
            <a:ext cx="2828987" cy="4140200"/>
          </a:xfrm>
        </p:spPr>
      </p:pic>
      <p:pic>
        <p:nvPicPr>
          <p:cNvPr id="40" name="Bilde 39">
            <a:extLst>
              <a:ext uri="{FF2B5EF4-FFF2-40B4-BE49-F238E27FC236}">
                <a16:creationId xmlns:a16="http://schemas.microsoft.com/office/drawing/2014/main" id="{2DB0172E-500E-410D-B702-70421940AD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914079">
            <a:off x="2652623" y="1852392"/>
            <a:ext cx="5001323" cy="3153215"/>
          </a:xfrm>
          <a:prstGeom prst="rect">
            <a:avLst/>
          </a:prstGeom>
        </p:spPr>
      </p:pic>
      <p:pic>
        <p:nvPicPr>
          <p:cNvPr id="42" name="Bilde 41">
            <a:extLst>
              <a:ext uri="{FF2B5EF4-FFF2-40B4-BE49-F238E27FC236}">
                <a16:creationId xmlns:a16="http://schemas.microsoft.com/office/drawing/2014/main" id="{47E95281-E89C-4D97-93FD-2E2AB28B2E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00416" y="1662219"/>
            <a:ext cx="3532305" cy="3102006"/>
          </a:xfrm>
          <a:prstGeom prst="rect">
            <a:avLst/>
          </a:prstGeom>
        </p:spPr>
      </p:pic>
      <p:pic>
        <p:nvPicPr>
          <p:cNvPr id="46" name="Bilde 45">
            <a:extLst>
              <a:ext uri="{FF2B5EF4-FFF2-40B4-BE49-F238E27FC236}">
                <a16:creationId xmlns:a16="http://schemas.microsoft.com/office/drawing/2014/main" id="{ECB901FF-7144-4C73-9C00-191F7F0997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05069" y="4580255"/>
            <a:ext cx="5068007" cy="1095528"/>
          </a:xfrm>
          <a:prstGeom prst="rect">
            <a:avLst/>
          </a:prstGeom>
        </p:spPr>
      </p:pic>
      <p:pic>
        <p:nvPicPr>
          <p:cNvPr id="48" name="Bilde 47">
            <a:extLst>
              <a:ext uri="{FF2B5EF4-FFF2-40B4-BE49-F238E27FC236}">
                <a16:creationId xmlns:a16="http://schemas.microsoft.com/office/drawing/2014/main" id="{9D9645AE-4486-427F-AC82-904E75B035D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14204" y="2137583"/>
            <a:ext cx="3532305" cy="2582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2035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21E161AB-70A1-4A78-97CF-2BFCC5384E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904400" y="6265280"/>
            <a:ext cx="2133600" cy="276999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087720-8024-4DD6-978D-6C7F11933EA5}" type="slidenum">
              <a:rPr lang="nb-NO" smtClean="0"/>
              <a:pPr>
                <a:spcAft>
                  <a:spcPts val="600"/>
                </a:spcAft>
              </a:pPr>
              <a:t>7</a:t>
            </a:fld>
            <a:endParaRPr lang="nb-NO"/>
          </a:p>
        </p:txBody>
      </p:sp>
      <p:pic>
        <p:nvPicPr>
          <p:cNvPr id="6" name="Plassholder for innhold 5" descr="Et bilde som inneholder innendørs, person, rotete&#10;&#10;Automatisk generert beskrivelse">
            <a:extLst>
              <a:ext uri="{FF2B5EF4-FFF2-40B4-BE49-F238E27FC236}">
                <a16:creationId xmlns:a16="http://schemas.microsoft.com/office/drawing/2014/main" id="{FC2A6122-A08F-482D-BEC3-8FE427ED86A1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34" b="11668"/>
          <a:stretch/>
        </p:blipFill>
        <p:spPr>
          <a:xfrm>
            <a:off x="2154000" y="630000"/>
            <a:ext cx="7884000" cy="5004000"/>
          </a:xfrm>
          <a:noFill/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3B2A5384-9CDB-4C09-A9BB-4AC7FC1DAD9B}"/>
              </a:ext>
            </a:extLst>
          </p:cNvPr>
          <p:cNvSpPr txBox="1"/>
          <p:nvPr/>
        </p:nvSpPr>
        <p:spPr>
          <a:xfrm flipH="1">
            <a:off x="7574692" y="5764973"/>
            <a:ext cx="25746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Kilde: VG 9.mars 2022</a:t>
            </a:r>
          </a:p>
        </p:txBody>
      </p:sp>
    </p:spTree>
    <p:extLst>
      <p:ext uri="{BB962C8B-B14F-4D97-AF65-F5344CB8AC3E}">
        <p14:creationId xmlns:p14="http://schemas.microsoft.com/office/powerpoint/2010/main" val="34560946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CC425C6-8A99-4765-A6AF-D1AAB7FFB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00" y="565066"/>
            <a:ext cx="10512000" cy="615553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b-NO" kern="1200"/>
              <a:t>Hvordan evaluerte vi midt i en krise?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E16BBEB8-EDAF-40F5-A88C-2BCE450554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07200" y="6265280"/>
            <a:ext cx="2844800" cy="276999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BB087720-8024-4DD6-978D-6C7F11933EA5}" type="slidenum">
              <a:rPr lang="nb-NO" smtClean="0"/>
              <a:pPr>
                <a:spcAft>
                  <a:spcPts val="600"/>
                </a:spcAft>
              </a:pPr>
              <a:t>8</a:t>
            </a:fld>
            <a:endParaRPr lang="nb-NO"/>
          </a:p>
        </p:txBody>
      </p:sp>
      <p:pic>
        <p:nvPicPr>
          <p:cNvPr id="6" name="Plassholder for bilde 5" descr="Et bilde som inneholder gulv, innendørs&#10;&#10;Automatisk generert beskrivelse">
            <a:extLst>
              <a:ext uri="{FF2B5EF4-FFF2-40B4-BE49-F238E27FC236}">
                <a16:creationId xmlns:a16="http://schemas.microsoft.com/office/drawing/2014/main" id="{2A1BA45C-C525-4972-9547-E4183BA1761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4" r="9598" b="3"/>
          <a:stretch/>
        </p:blipFill>
        <p:spPr>
          <a:xfrm>
            <a:off x="6249600" y="1537200"/>
            <a:ext cx="5102400" cy="3826800"/>
          </a:xfrm>
          <a:noFill/>
        </p:spPr>
      </p:pic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AF018143-5E60-8FA0-212A-271F2633196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40000" y="1535583"/>
            <a:ext cx="5102400" cy="4140000"/>
          </a:xfrm>
        </p:spPr>
        <p:txBody>
          <a:bodyPr anchor="t">
            <a:normAutofit/>
          </a:bodyPr>
          <a:lstStyle/>
          <a:p>
            <a:r>
              <a:rPr lang="nb-NO"/>
              <a:t>Råd og involvering</a:t>
            </a:r>
          </a:p>
          <a:p>
            <a:endParaRPr lang="nb-NO"/>
          </a:p>
          <a:p>
            <a:r>
              <a:rPr lang="nb-NO"/>
              <a:t>Forberede datainnsamlingen</a:t>
            </a:r>
          </a:p>
          <a:p>
            <a:endParaRPr lang="nb-NO"/>
          </a:p>
          <a:p>
            <a:r>
              <a:rPr lang="nb-NO"/>
              <a:t>Vurdere risiko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35B2DC7A-CC5D-49F6-AB88-6AE395D02AE4}"/>
              </a:ext>
            </a:extLst>
          </p:cNvPr>
          <p:cNvSpPr txBox="1"/>
          <p:nvPr/>
        </p:nvSpPr>
        <p:spPr>
          <a:xfrm>
            <a:off x="6211200" y="1535583"/>
            <a:ext cx="3826800" cy="414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marL="457200" indent="-457200">
              <a:lnSpc>
                <a:spcPct val="90000"/>
              </a:lnSpc>
              <a:spcBef>
                <a:spcPct val="20000"/>
              </a:spcBef>
              <a:buClr>
                <a:srgbClr val="C03539"/>
              </a:buClr>
              <a:buFont typeface="Arial" panose="020B0604020202020204" pitchFamily="34" charset="0"/>
              <a:buChar char="•"/>
            </a:pPr>
            <a:endParaRPr lang="nb-NO" sz="3000"/>
          </a:p>
        </p:txBody>
      </p:sp>
    </p:spTree>
    <p:extLst>
      <p:ext uri="{BB962C8B-B14F-4D97-AF65-F5344CB8AC3E}">
        <p14:creationId xmlns:p14="http://schemas.microsoft.com/office/powerpoint/2010/main" val="3650826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:a16="http://schemas.microsoft.com/office/drawing/2014/main" id="{211DC0DC-F7D4-F9D2-B1C0-CE9D40356F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000" y="565066"/>
            <a:ext cx="10512000" cy="615553"/>
          </a:xfrm>
        </p:spPr>
        <p:txBody>
          <a:bodyPr/>
          <a:lstStyle/>
          <a:p>
            <a:r>
              <a:rPr lang="nb-NO"/>
              <a:t>Hva vi lærte av samarbeid med andre etater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F1FE46B1-E89C-4559-B57E-A81791DCA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507200" y="6265280"/>
            <a:ext cx="2844800" cy="276999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BB087720-8024-4DD6-978D-6C7F11933EA5}" type="slidenum">
              <a:rPr lang="nb-NO" smtClean="0"/>
              <a:pPr>
                <a:spcAft>
                  <a:spcPts val="600"/>
                </a:spcAft>
              </a:pPr>
              <a:t>9</a:t>
            </a:fld>
            <a:endParaRPr lang="nb-NO"/>
          </a:p>
        </p:txBody>
      </p:sp>
      <p:pic>
        <p:nvPicPr>
          <p:cNvPr id="6" name="Plassholder for innhold 5" descr="Rosa flamingose kyss">
            <a:extLst>
              <a:ext uri="{FF2B5EF4-FFF2-40B4-BE49-F238E27FC236}">
                <a16:creationId xmlns:a16="http://schemas.microsoft.com/office/drawing/2014/main" id="{5963E5B8-9097-4C11-A98D-B59B09A860E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14" r="5514"/>
          <a:stretch/>
        </p:blipFill>
        <p:spPr>
          <a:xfrm>
            <a:off x="6249600" y="1537200"/>
            <a:ext cx="5102400" cy="3826800"/>
          </a:xfrm>
          <a:noFill/>
        </p:spPr>
      </p:pic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C4676D6C-4B0A-9C8E-8861-A6A4A2AC0CB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40000" y="1535583"/>
            <a:ext cx="5102400" cy="4140000"/>
          </a:xfrm>
        </p:spPr>
        <p:txBody>
          <a:bodyPr/>
          <a:lstStyle/>
          <a:p>
            <a:r>
              <a:rPr lang="nb-NO"/>
              <a:t>UDI + IMDi = sant? </a:t>
            </a:r>
          </a:p>
          <a:p>
            <a:r>
              <a:rPr lang="nb-NO"/>
              <a:t>Ivaretar brukerperspektivet</a:t>
            </a:r>
          </a:p>
          <a:p>
            <a:r>
              <a:rPr lang="nb-NO"/>
              <a:t>Avklaringer på forhånd er ikke så dumt </a:t>
            </a:r>
          </a:p>
        </p:txBody>
      </p:sp>
    </p:spTree>
    <p:extLst>
      <p:ext uri="{BB962C8B-B14F-4D97-AF65-F5344CB8AC3E}">
        <p14:creationId xmlns:p14="http://schemas.microsoft.com/office/powerpoint/2010/main" val="29847385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PyO_DSL0yeGUN4eHbDZ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5sPLUfzkKxHv5EW_S9f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z5K2oKwkS7ov3rBsZ1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PyO_DSL0yeGUN4eHbD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5sPLUfzkKxHv5EW_S9f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z5K2oKwkS7ov3rBsZ1N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PyO_DSL0yeGUN4eHbDZ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czQXjuHUiHwZ2kCTJl0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czQXjuHUiHwZ2kCTJl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WBRRECi0WINL2dmoWH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.rl9oZH0yt1Mi.dN2z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3m8b0qYUqwt_fcD_9yQ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Rj6g0wE2WOlSGkPsA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5sPLUfzkKxHv5EW_S9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z5K2oKwkS7ov3rBsZ1NQ"/>
</p:tagLst>
</file>

<file path=ppt/theme/theme1.xml><?xml version="1.0" encoding="utf-8"?>
<a:theme xmlns:a="http://schemas.openxmlformats.org/drawingml/2006/main" name="Office-tema">
  <a:themeElements>
    <a:clrScheme name="UDI PPT NY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32A77A"/>
      </a:accent1>
      <a:accent2>
        <a:srgbClr val="FFCF54"/>
      </a:accent2>
      <a:accent3>
        <a:srgbClr val="643064"/>
      </a:accent3>
      <a:accent4>
        <a:srgbClr val="60C6CD"/>
      </a:accent4>
      <a:accent5>
        <a:srgbClr val="000000"/>
      </a:accent5>
      <a:accent6>
        <a:srgbClr val="F58C46"/>
      </a:accent6>
      <a:hlink>
        <a:srgbClr val="C8373C"/>
      </a:hlink>
      <a:folHlink>
        <a:srgbClr val="6E1E20"/>
      </a:folHlink>
    </a:clrScheme>
    <a:fontScheme name="Santand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mal_2017.potx" id="{AE2EB5D1-F677-460B-98EC-726ED91CD2C6}" vid="{7C727411-BB2D-4D8D-92F4-72B3F66B7377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deffef3-913b-4f2a-8fd9-04e46887b286">
      <UserInfo>
        <DisplayName/>
        <AccountId xsi:nil="true"/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80571621A145A458386A282620FA6BE" ma:contentTypeVersion="12" ma:contentTypeDescription="Opprett et nytt dokument." ma:contentTypeScope="" ma:versionID="17480a94a303db15d63b3b474b101e37">
  <xsd:schema xmlns:xsd="http://www.w3.org/2001/XMLSchema" xmlns:xs="http://www.w3.org/2001/XMLSchema" xmlns:p="http://schemas.microsoft.com/office/2006/metadata/properties" xmlns:ns2="be9409ab-0956-4e1f-b237-4a5eedae28b3" xmlns:ns3="0deffef3-913b-4f2a-8fd9-04e46887b286" targetNamespace="http://schemas.microsoft.com/office/2006/metadata/properties" ma:root="true" ma:fieldsID="fabfa6e045e25a2c15f20a16e8c61b65" ns2:_="" ns3:_="">
    <xsd:import namespace="be9409ab-0956-4e1f-b237-4a5eedae28b3"/>
    <xsd:import namespace="0deffef3-913b-4f2a-8fd9-04e46887b28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9409ab-0956-4e1f-b237-4a5eedae28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effef3-913b-4f2a-8fd9-04e46887b286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399845D-C93F-4D3B-9425-00A98FEC27B6}">
  <ds:schemaRefs>
    <ds:schemaRef ds:uri="0deffef3-913b-4f2a-8fd9-04e46887b286"/>
    <ds:schemaRef ds:uri="be9409ab-0956-4e1f-b237-4a5eedae28b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A584A55-92F7-461A-A5A2-8114F93CBE3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F02974A-E341-44F1-AE61-0AB6E11C8BBB}">
  <ds:schemaRefs>
    <ds:schemaRef ds:uri="0deffef3-913b-4f2a-8fd9-04e46887b286"/>
    <ds:schemaRef ds:uri="be9409ab-0956-4e1f-b237-4a5eedae28b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_mal</Template>
  <TotalTime>0</TotalTime>
  <Words>172</Words>
  <Application>Microsoft Office PowerPoint</Application>
  <PresentationFormat>Widescreen</PresentationFormat>
  <Paragraphs>62</Paragraphs>
  <Slides>14</Slides>
  <Notes>14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4</vt:i4>
      </vt:variant>
    </vt:vector>
  </HeadingPairs>
  <TitlesOfParts>
    <vt:vector size="20" baseType="lpstr">
      <vt:lpstr>Arial</vt:lpstr>
      <vt:lpstr>Calibri</vt:lpstr>
      <vt:lpstr>system-ui</vt:lpstr>
      <vt:lpstr>Wingdings</vt:lpstr>
      <vt:lpstr>Office-tema</vt:lpstr>
      <vt:lpstr>think-cell Slide</vt:lpstr>
      <vt:lpstr>Evaluering i og av en krise </vt:lpstr>
      <vt:lpstr>PowerPoint-presentasjon</vt:lpstr>
      <vt:lpstr>PowerPoint-presentasjon</vt:lpstr>
      <vt:lpstr>PowerPoint-presentasjon</vt:lpstr>
      <vt:lpstr>Hva fant vi ut?</vt:lpstr>
      <vt:lpstr>130 anbefalinger – hva gjorde vi med dem?</vt:lpstr>
      <vt:lpstr>PowerPoint-presentasjon</vt:lpstr>
      <vt:lpstr>Hvordan evaluerte vi midt i en krise?</vt:lpstr>
      <vt:lpstr>Hva vi lærte av samarbeid med andre etater</vt:lpstr>
      <vt:lpstr>Formidling av foreløpige funn</vt:lpstr>
      <vt:lpstr>Klarte vi å lære underveis?</vt:lpstr>
      <vt:lpstr>Hva vi lærte av å feile?</vt:lpstr>
      <vt:lpstr>Oppsummering</vt:lpstr>
      <vt:lpstr>PowerPoint-presentasjon</vt:lpstr>
    </vt:vector>
  </TitlesOfParts>
  <Company>UD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Utlendingsdirektoratet</dc:creator>
  <dc:description>Template by addpoint.no</dc:description>
  <cp:lastModifiedBy>Rachel Elisabeth Eide</cp:lastModifiedBy>
  <cp:revision>1</cp:revision>
  <cp:lastPrinted>2022-09-21T11:44:14Z</cp:lastPrinted>
  <dcterms:created xsi:type="dcterms:W3CDTF">2019-07-03T09:53:08Z</dcterms:created>
  <dcterms:modified xsi:type="dcterms:W3CDTF">2022-09-26T07:15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by">
    <vt:lpwstr>addpoint.no</vt:lpwstr>
  </property>
  <property fmtid="{D5CDD505-2E9C-101B-9397-08002B2CF9AE}" pid="3" name="ContentTypeId">
    <vt:lpwstr>0x010100780571621A145A458386A282620FA6BE</vt:lpwstr>
  </property>
  <property fmtid="{D5CDD505-2E9C-101B-9397-08002B2CF9AE}" pid="4" name="Order">
    <vt:r8>1321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MSIP_Label_8cd81a8e-f606-4aa4-8c31-9b849bafa45f_Enabled">
    <vt:lpwstr>True</vt:lpwstr>
  </property>
  <property fmtid="{D5CDD505-2E9C-101B-9397-08002B2CF9AE}" pid="10" name="MSIP_Label_8cd81a8e-f606-4aa4-8c31-9b849bafa45f_SiteId">
    <vt:lpwstr>e6f99e46-872e-44a5-87e4-60a888e95a1c</vt:lpwstr>
  </property>
  <property fmtid="{D5CDD505-2E9C-101B-9397-08002B2CF9AE}" pid="11" name="MSIP_Label_8cd81a8e-f606-4aa4-8c31-9b849bafa45f_Owner">
    <vt:lpwstr>came@udi.no</vt:lpwstr>
  </property>
  <property fmtid="{D5CDD505-2E9C-101B-9397-08002B2CF9AE}" pid="12" name="MSIP_Label_8cd81a8e-f606-4aa4-8c31-9b849bafa45f_SetDate">
    <vt:lpwstr>2019-07-03T09:55:24.6642814Z</vt:lpwstr>
  </property>
  <property fmtid="{D5CDD505-2E9C-101B-9397-08002B2CF9AE}" pid="13" name="MSIP_Label_8cd81a8e-f606-4aa4-8c31-9b849bafa45f_Name">
    <vt:lpwstr>Intern</vt:lpwstr>
  </property>
  <property fmtid="{D5CDD505-2E9C-101B-9397-08002B2CF9AE}" pid="14" name="MSIP_Label_8cd81a8e-f606-4aa4-8c31-9b849bafa45f_Application">
    <vt:lpwstr>Microsoft Azure Information Protection</vt:lpwstr>
  </property>
  <property fmtid="{D5CDD505-2E9C-101B-9397-08002B2CF9AE}" pid="15" name="MSIP_Label_8cd81a8e-f606-4aa4-8c31-9b849bafa45f_ActionId">
    <vt:lpwstr>322641cd-0442-4488-aec9-4d9b9f17bbc6</vt:lpwstr>
  </property>
  <property fmtid="{D5CDD505-2E9C-101B-9397-08002B2CF9AE}" pid="16" name="MSIP_Label_8cd81a8e-f606-4aa4-8c31-9b849bafa45f_Extended_MSFT_Method">
    <vt:lpwstr>Automatic</vt:lpwstr>
  </property>
  <property fmtid="{D5CDD505-2E9C-101B-9397-08002B2CF9AE}" pid="17" name="Sensitivity">
    <vt:lpwstr>Intern</vt:lpwstr>
  </property>
</Properties>
</file>